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media/image11.jpg" ContentType="image/jpg"/>
  <Override PartName="/ppt/media/image13.jpg" ContentType="image/jpg"/>
  <Override PartName="/ppt/media/image14.jpg" ContentType="image/jpg"/>
  <Override PartName="/ppt/media/image15.jpg" ContentType="image/jpg"/>
  <Override PartName="/ppt/media/image16.jpg" ContentType="image/jpg"/>
  <Override PartName="/ppt/media/image17.jpg" ContentType="image/jpg"/>
  <Override PartName="/ppt/media/image18.jpg" ContentType="image/jpg"/>
  <Override PartName="/ppt/media/image19.jpg" ContentType="image/jpg"/>
  <Override PartName="/ppt/media/image20.jpg" ContentType="image/jpg"/>
  <Override PartName="/ppt/media/image22.jpg" ContentType="image/jpg"/>
  <Override PartName="/ppt/media/image23.jpg" ContentType="image/jpg"/>
  <Override PartName="/ppt/media/image24.jpg" ContentType="image/jpg"/>
  <Override PartName="/ppt/media/image25.jpg" ContentType="image/jpg"/>
  <Override PartName="/ppt/media/image26.jpg" ContentType="image/jpg"/>
  <Override PartName="/ppt/media/image27.jpg" ContentType="image/jpg"/>
  <Override PartName="/ppt/media/image30.jpg" ContentType="image/jpg"/>
  <Override PartName="/ppt/media/image31.jpg" ContentType="image/jpg"/>
  <Override PartName="/ppt/media/image32.jpg" ContentType="image/jpg"/>
  <Override PartName="/ppt/media/image33.jpg" ContentType="image/jpg"/>
  <Override PartName="/ppt/media/image34.jpg" ContentType="image/jpg"/>
  <Override PartName="/ppt/media/image35.jpg" ContentType="image/jpg"/>
  <Override PartName="/ppt/media/image37.jpg" ContentType="image/jpg"/>
  <Override PartName="/ppt/media/image38.jpg" ContentType="image/jpg"/>
  <Override PartName="/ppt/media/image43.jpg" ContentType="image/jpg"/>
  <Override PartName="/ppt/media/image137.jpg" ContentType="image/jpg"/>
  <Override PartName="/ppt/media/image139.jpg" ContentType="image/jpg"/>
  <Override PartName="/ppt/media/image140.jpg" ContentType="image/jpg"/>
  <Override PartName="/ppt/media/image141.jpg" ContentType="image/jpg"/>
  <Override PartName="/ppt/media/image144.jpg" ContentType="image/jpg"/>
  <Override PartName="/ppt/media/image145.jpg" ContentType="image/jpg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01" r:id="rId2"/>
  </p:sldMasterIdLst>
  <p:notesMasterIdLst>
    <p:notesMasterId r:id="rId38"/>
  </p:notesMasterIdLst>
  <p:handoutMasterIdLst>
    <p:handoutMasterId r:id="rId39"/>
  </p:handoutMasterIdLst>
  <p:sldIdLst>
    <p:sldId id="1262" r:id="rId3"/>
    <p:sldId id="1263" r:id="rId4"/>
    <p:sldId id="1264" r:id="rId5"/>
    <p:sldId id="1265" r:id="rId6"/>
    <p:sldId id="1266" r:id="rId7"/>
    <p:sldId id="1267" r:id="rId8"/>
    <p:sldId id="1268" r:id="rId9"/>
    <p:sldId id="1269" r:id="rId10"/>
    <p:sldId id="1270" r:id="rId11"/>
    <p:sldId id="1271" r:id="rId12"/>
    <p:sldId id="267" r:id="rId13"/>
    <p:sldId id="1272" r:id="rId14"/>
    <p:sldId id="1273" r:id="rId15"/>
    <p:sldId id="1274" r:id="rId16"/>
    <p:sldId id="1275" r:id="rId17"/>
    <p:sldId id="1251" r:id="rId18"/>
    <p:sldId id="339" r:id="rId19"/>
    <p:sldId id="340" r:id="rId20"/>
    <p:sldId id="341" r:id="rId21"/>
    <p:sldId id="342" r:id="rId22"/>
    <p:sldId id="343" r:id="rId23"/>
    <p:sldId id="344" r:id="rId24"/>
    <p:sldId id="345" r:id="rId25"/>
    <p:sldId id="346" r:id="rId26"/>
    <p:sldId id="347" r:id="rId27"/>
    <p:sldId id="348" r:id="rId28"/>
    <p:sldId id="1257" r:id="rId29"/>
    <p:sldId id="1258" r:id="rId30"/>
    <p:sldId id="1259" r:id="rId31"/>
    <p:sldId id="1253" r:id="rId32"/>
    <p:sldId id="1252" r:id="rId33"/>
    <p:sldId id="369" r:id="rId34"/>
    <p:sldId id="371" r:id="rId35"/>
    <p:sldId id="372" r:id="rId36"/>
    <p:sldId id="269" r:id="rId37"/>
  </p:sldIdLst>
  <p:sldSz cx="12192000" cy="6858000"/>
  <p:notesSz cx="6797675" cy="9926638"/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104"/>
    <a:srgbClr val="F72F04"/>
    <a:srgbClr val="E42B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897" autoAdjust="0"/>
    <p:restoredTop sz="94586" autoAdjust="0"/>
  </p:normalViewPr>
  <p:slideViewPr>
    <p:cSldViewPr snapToGrid="0">
      <p:cViewPr varScale="1">
        <p:scale>
          <a:sx n="68" d="100"/>
          <a:sy n="68" d="100"/>
        </p:scale>
        <p:origin x="456" y="7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55" d="100"/>
          <a:sy n="55" d="100"/>
        </p:scale>
        <p:origin x="2880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B08E34-116E-433A-ACB2-3F7960833C5F}" type="datetimeFigureOut">
              <a:rPr lang="fr-FR" smtClean="0"/>
              <a:t>22/11/2019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945BC2-ECA5-4657-B7AD-2E0B30E1773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207438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617DF5-89BB-406B-9CDC-C6B9878A1D00}" type="datetimeFigureOut">
              <a:rPr lang="fr-FR" smtClean="0"/>
              <a:t>22/11/2019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C3C9F2-7D2F-4CDB-A522-4AC07365A93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317926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3C9F2-7D2F-4CDB-A522-4AC07365A930}" type="slidenum">
              <a:rPr lang="fr-FR" smtClean="0"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902192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1652107" y="2155371"/>
            <a:ext cx="8373291" cy="653214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63237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image slide (1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1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/>
          <p:cNvSpPr/>
          <p:nvPr userDrawn="1"/>
        </p:nvSpPr>
        <p:spPr>
          <a:xfrm>
            <a:off x="-1" y="-2"/>
            <a:ext cx="12192000" cy="9990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6" name="Forme libre 25"/>
          <p:cNvSpPr/>
          <p:nvPr userDrawn="1"/>
        </p:nvSpPr>
        <p:spPr>
          <a:xfrm>
            <a:off x="-1" y="999066"/>
            <a:ext cx="6162649" cy="5244721"/>
          </a:xfrm>
          <a:custGeom>
            <a:avLst/>
            <a:gdLst>
              <a:gd name="connsiteX0" fmla="*/ 0 w 4586908"/>
              <a:gd name="connsiteY0" fmla="*/ 0 h 5616038"/>
              <a:gd name="connsiteX1" fmla="*/ 4586908 w 4586908"/>
              <a:gd name="connsiteY1" fmla="*/ 0 h 5616038"/>
              <a:gd name="connsiteX2" fmla="*/ 3950435 w 4586908"/>
              <a:gd name="connsiteY2" fmla="*/ 5616038 h 5616038"/>
              <a:gd name="connsiteX3" fmla="*/ 0 w 4586908"/>
              <a:gd name="connsiteY3" fmla="*/ 5583400 h 5616038"/>
              <a:gd name="connsiteX4" fmla="*/ 0 w 4586908"/>
              <a:gd name="connsiteY4" fmla="*/ 0 h 5616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86908" h="5616038">
                <a:moveTo>
                  <a:pt x="0" y="0"/>
                </a:moveTo>
                <a:lnTo>
                  <a:pt x="4586908" y="0"/>
                </a:lnTo>
                <a:lnTo>
                  <a:pt x="3950435" y="5616038"/>
                </a:lnTo>
                <a:lnTo>
                  <a:pt x="0" y="55834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12192000" cy="9990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0" name="Rectangle 9"/>
          <p:cNvSpPr/>
          <p:nvPr userDrawn="1"/>
        </p:nvSpPr>
        <p:spPr>
          <a:xfrm>
            <a:off x="0" y="6231467"/>
            <a:ext cx="12192000" cy="6265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Planning visite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D2473F-88A5-49A5-A347-C33A6A16DE0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Forme libre 5"/>
          <p:cNvSpPr/>
          <p:nvPr userDrawn="1"/>
        </p:nvSpPr>
        <p:spPr>
          <a:xfrm>
            <a:off x="1" y="999068"/>
            <a:ext cx="6162649" cy="5244721"/>
          </a:xfrm>
          <a:custGeom>
            <a:avLst/>
            <a:gdLst>
              <a:gd name="connsiteX0" fmla="*/ 0 w 4586908"/>
              <a:gd name="connsiteY0" fmla="*/ 0 h 5616038"/>
              <a:gd name="connsiteX1" fmla="*/ 4586908 w 4586908"/>
              <a:gd name="connsiteY1" fmla="*/ 0 h 5616038"/>
              <a:gd name="connsiteX2" fmla="*/ 3950435 w 4586908"/>
              <a:gd name="connsiteY2" fmla="*/ 5616038 h 5616038"/>
              <a:gd name="connsiteX3" fmla="*/ 0 w 4586908"/>
              <a:gd name="connsiteY3" fmla="*/ 5583400 h 5616038"/>
              <a:gd name="connsiteX4" fmla="*/ 0 w 4586908"/>
              <a:gd name="connsiteY4" fmla="*/ 0 h 5616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86908" h="5616038">
                <a:moveTo>
                  <a:pt x="0" y="0"/>
                </a:moveTo>
                <a:lnTo>
                  <a:pt x="4586908" y="0"/>
                </a:lnTo>
                <a:lnTo>
                  <a:pt x="3950435" y="5616038"/>
                </a:lnTo>
                <a:lnTo>
                  <a:pt x="0" y="55834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537634" y="1220755"/>
            <a:ext cx="5270335" cy="2305051"/>
          </a:xfrm>
        </p:spPr>
        <p:txBody>
          <a:bodyPr>
            <a:normAutofit/>
          </a:bodyPr>
          <a:lstStyle>
            <a:lvl1pPr marL="0" indent="0">
              <a:buNone/>
              <a:defRPr sz="2933"/>
            </a:lvl1pPr>
          </a:lstStyle>
          <a:p>
            <a:pPr lvl="0"/>
            <a:r>
              <a:rPr lang="fr-FR" dirty="0" err="1"/>
              <a:t>Text</a:t>
            </a:r>
            <a:endParaRPr lang="fr-FR" dirty="0"/>
          </a:p>
        </p:txBody>
      </p:sp>
      <p:cxnSp>
        <p:nvCxnSpPr>
          <p:cNvPr id="21" name="Connecteur droit 20"/>
          <p:cNvCxnSpPr/>
          <p:nvPr userDrawn="1"/>
        </p:nvCxnSpPr>
        <p:spPr>
          <a:xfrm>
            <a:off x="719403" y="6448745"/>
            <a:ext cx="0" cy="180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e 19"/>
          <p:cNvGrpSpPr/>
          <p:nvPr userDrawn="1"/>
        </p:nvGrpSpPr>
        <p:grpSpPr>
          <a:xfrm>
            <a:off x="0" y="995680"/>
            <a:ext cx="12192000" cy="5235787"/>
            <a:chOff x="403225" y="746760"/>
            <a:chExt cx="8489950" cy="3926840"/>
          </a:xfrm>
        </p:grpSpPr>
        <p:cxnSp>
          <p:nvCxnSpPr>
            <p:cNvPr id="23" name="Connecteur droit 22"/>
            <p:cNvCxnSpPr/>
            <p:nvPr/>
          </p:nvCxnSpPr>
          <p:spPr>
            <a:xfrm>
              <a:off x="403225" y="746760"/>
              <a:ext cx="8489950" cy="0"/>
            </a:xfrm>
            <a:prstGeom prst="line">
              <a:avLst/>
            </a:prstGeom>
            <a:ln>
              <a:solidFill>
                <a:schemeClr val="accent1"/>
              </a:solidFill>
            </a:ln>
            <a:effectLst>
              <a:outerShdw blurRad="38100" dist="38100" dir="1740000" algn="tl" rotWithShape="0">
                <a:prstClr val="black">
                  <a:alpha val="11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eur droit 23"/>
            <p:cNvCxnSpPr/>
            <p:nvPr/>
          </p:nvCxnSpPr>
          <p:spPr>
            <a:xfrm>
              <a:off x="403225" y="4673600"/>
              <a:ext cx="8489255" cy="0"/>
            </a:xfrm>
            <a:prstGeom prst="line">
              <a:avLst/>
            </a:prstGeom>
            <a:ln>
              <a:solidFill>
                <a:schemeClr val="accent1"/>
              </a:solidFill>
            </a:ln>
            <a:effectLst>
              <a:outerShdw blurRad="38100" dist="38100" dir="1740000" algn="tl" rotWithShape="0">
                <a:prstClr val="black">
                  <a:alpha val="11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object 17"/>
          <p:cNvSpPr txBox="1">
            <a:spLocks/>
          </p:cNvSpPr>
          <p:nvPr userDrawn="1"/>
        </p:nvSpPr>
        <p:spPr>
          <a:xfrm>
            <a:off x="4351637" y="6405331"/>
            <a:ext cx="348872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933"/>
            <a:r>
              <a:rPr lang="fr-FR" sz="1200" dirty="0">
                <a:latin typeface="Century Gothic" pitchFamily="34" charset="0"/>
              </a:rPr>
              <a:t>Informations propriété de </a:t>
            </a:r>
            <a:r>
              <a:rPr lang="fr-FR" sz="1200" dirty="0" err="1">
                <a:latin typeface="Century Gothic" pitchFamily="34" charset="0"/>
              </a:rPr>
              <a:t>Saft</a:t>
            </a:r>
            <a:r>
              <a:rPr lang="fr-FR" sz="1200" dirty="0">
                <a:latin typeface="Century Gothic" pitchFamily="34" charset="0"/>
              </a:rPr>
              <a:t> – Confidentiel</a:t>
            </a:r>
            <a:endParaRPr lang="fr-FR" sz="1200" spc="-7" dirty="0">
              <a:latin typeface="Century Gothic" pitchFamily="34" charset="0"/>
            </a:endParaRPr>
          </a:p>
        </p:txBody>
      </p:sp>
      <p:pic>
        <p:nvPicPr>
          <p:cNvPr id="28" name="Image 27">
            <a:extLst>
              <a:ext uri="{FF2B5EF4-FFF2-40B4-BE49-F238E27FC236}">
                <a16:creationId xmlns:a16="http://schemas.microsoft.com/office/drawing/2014/main" id="{148FA2FC-2A34-427B-9F3B-B9D2B54C52D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082" y="6345707"/>
            <a:ext cx="1120485" cy="385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1618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Espace réservé pour une image  10"/>
          <p:cNvSpPr>
            <a:spLocks noGrp="1"/>
          </p:cNvSpPr>
          <p:nvPr>
            <p:ph type="pic" sz="quarter" idx="13" hasCustomPrompt="1"/>
          </p:nvPr>
        </p:nvSpPr>
        <p:spPr>
          <a:xfrm>
            <a:off x="-13163" y="1001918"/>
            <a:ext cx="3119669" cy="5229549"/>
          </a:xfrm>
        </p:spPr>
        <p:txBody>
          <a:bodyPr/>
          <a:lstStyle/>
          <a:p>
            <a:r>
              <a:rPr lang="en-US" dirty="0"/>
              <a:t>Click on the icon to add an image</a:t>
            </a:r>
          </a:p>
          <a:p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3695734" y="1535113"/>
            <a:ext cx="8161833" cy="639763"/>
          </a:xfrm>
        </p:spPr>
        <p:txBody>
          <a:bodyPr anchor="b">
            <a:normAutofit/>
          </a:bodyPr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3695734" y="2174875"/>
            <a:ext cx="8161833" cy="395128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fr-FR" dirty="0"/>
              <a:t>First </a:t>
            </a:r>
            <a:r>
              <a:rPr lang="fr-FR" dirty="0" err="1"/>
              <a:t>level</a:t>
            </a:r>
            <a:endParaRPr lang="fr-FR" dirty="0"/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Planning visit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D2473F-88A5-49A5-A347-C33A6A16DE0F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719403" y="6448745"/>
            <a:ext cx="0" cy="180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25629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c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537634" y="3621022"/>
            <a:ext cx="5558367" cy="250514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fr-FR" dirty="0"/>
              <a:t>First </a:t>
            </a:r>
            <a:r>
              <a:rPr lang="fr-FR" dirty="0" err="1"/>
              <a:t>level</a:t>
            </a:r>
            <a:endParaRPr lang="fr-FR" dirty="0"/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6288022" y="3621022"/>
            <a:ext cx="5552612" cy="250514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fr-FR" dirty="0"/>
              <a:t>First </a:t>
            </a:r>
            <a:r>
              <a:rPr lang="fr-FR" dirty="0" err="1"/>
              <a:t>level</a:t>
            </a:r>
            <a:endParaRPr lang="fr-FR" dirty="0"/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Planning visit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D2473F-88A5-49A5-A347-C33A6A16DE0F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4" name="Connecteur droit 13"/>
          <p:cNvCxnSpPr/>
          <p:nvPr userDrawn="1"/>
        </p:nvCxnSpPr>
        <p:spPr>
          <a:xfrm>
            <a:off x="719403" y="6448745"/>
            <a:ext cx="0" cy="180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537634" y="3140969"/>
            <a:ext cx="5558367" cy="480252"/>
          </a:xfrm>
        </p:spPr>
        <p:txBody>
          <a:bodyPr anchor="ctr">
            <a:normAutofit/>
          </a:bodyPr>
          <a:lstStyle>
            <a:lvl1pPr marL="0" indent="0" algn="ctr">
              <a:buNone/>
              <a:defRPr sz="2667" b="1">
                <a:solidFill>
                  <a:schemeClr val="accent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6288022" y="3140969"/>
            <a:ext cx="5552612" cy="480252"/>
          </a:xfrm>
        </p:spPr>
        <p:txBody>
          <a:bodyPr anchor="ctr">
            <a:normAutofit/>
          </a:bodyPr>
          <a:lstStyle>
            <a:lvl1pPr marL="0" indent="0" algn="ctr">
              <a:buNone/>
              <a:defRPr sz="2667" b="1">
                <a:solidFill>
                  <a:schemeClr val="accent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070779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123752" y="147413"/>
            <a:ext cx="8373291" cy="72786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endParaRPr dirty="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 hasCustomPrompt="1"/>
          </p:nvPr>
        </p:nvSpPr>
        <p:spPr>
          <a:xfrm>
            <a:off x="1097280" y="1672045"/>
            <a:ext cx="10162903" cy="3226526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chemeClr val="accent1">
                  <a:lumMod val="60000"/>
                  <a:lumOff val="40000"/>
                </a:schemeClr>
              </a:buClr>
              <a:buSzPct val="150000"/>
              <a:buFontTx/>
              <a:buBlip>
                <a:blip r:embed="rId2"/>
              </a:buBlip>
              <a:tabLst/>
              <a:defRPr/>
            </a:lvl1pPr>
            <a:lvl2pPr marL="685800" indent="-336550">
              <a:buSzPct val="150000"/>
              <a:buFontTx/>
              <a:buBlip>
                <a:blip r:embed="rId2"/>
              </a:buBlip>
              <a:defRPr sz="2400">
                <a:ln>
                  <a:noFill/>
                </a:ln>
                <a:solidFill>
                  <a:schemeClr val="tx1"/>
                </a:solidFill>
              </a:defRPr>
            </a:lvl2pPr>
            <a:lvl3pPr>
              <a:buClr>
                <a:schemeClr val="tx2">
                  <a:lumMod val="75000"/>
                </a:schemeClr>
              </a:buClr>
              <a:buSzPct val="100000"/>
              <a:defRPr sz="2200"/>
            </a:lvl3pPr>
            <a:lvl4pPr>
              <a:buClr>
                <a:schemeClr val="tx1">
                  <a:lumMod val="50000"/>
                  <a:lumOff val="50000"/>
                </a:schemeClr>
              </a:buClr>
              <a:buSzPct val="100000"/>
              <a:defRPr sz="22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1"/>
            <a:r>
              <a:rPr lang="fr-FR" dirty="0"/>
              <a:t>Ajouter une partie</a:t>
            </a:r>
          </a:p>
          <a:p>
            <a:pPr lvl="3"/>
            <a:r>
              <a:rPr lang="fr-FR" dirty="0"/>
              <a:t>Ajouter une sous partie</a:t>
            </a:r>
          </a:p>
          <a:p>
            <a:pPr lvl="3"/>
            <a:endParaRPr lang="fr-FR" dirty="0"/>
          </a:p>
          <a:p>
            <a:pPr lvl="3"/>
            <a:endParaRPr lang="fr-FR" dirty="0"/>
          </a:p>
          <a:p>
            <a:pPr lvl="3"/>
            <a:endParaRPr lang="fr-FR" dirty="0"/>
          </a:p>
          <a:p>
            <a:pPr lvl="3"/>
            <a:endParaRPr lang="fr-FR" dirty="0"/>
          </a:p>
          <a:p>
            <a:pPr lvl="3"/>
            <a:endParaRPr lang="fr-FR" dirty="0"/>
          </a:p>
          <a:p>
            <a:pPr lvl="3"/>
            <a:endParaRPr lang="fr-FR" dirty="0"/>
          </a:p>
          <a:p>
            <a:pPr lvl="1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771304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DE0832-6E1F-4041-BDE0-6B764A2FBC66}" type="datetimeFigureOut">
              <a:rPr lang="fr-FR" smtClean="0"/>
              <a:pPr/>
              <a:t>22/11/2019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C1F6B3-A52D-5F4F-AC73-5A3A3C7C7D5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604735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554182" y="1109383"/>
            <a:ext cx="11083636" cy="4924425"/>
          </a:xfrm>
          <a:custGeom>
            <a:avLst/>
            <a:gdLst/>
            <a:ahLst/>
            <a:cxnLst/>
            <a:rect l="l" t="t" r="r" b="b"/>
            <a:pathLst>
              <a:path w="9144000" h="5581015">
                <a:moveTo>
                  <a:pt x="0" y="0"/>
                </a:moveTo>
                <a:lnTo>
                  <a:pt x="9144000" y="0"/>
                </a:lnTo>
                <a:lnTo>
                  <a:pt x="9144000" y="5580888"/>
                </a:lnTo>
                <a:lnTo>
                  <a:pt x="0" y="5580888"/>
                </a:lnTo>
                <a:lnTo>
                  <a:pt x="0" y="0"/>
                </a:lnTo>
                <a:close/>
              </a:path>
            </a:pathLst>
          </a:custGeom>
          <a:solidFill>
            <a:srgbClr val="EFEFEF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17" name="bk object 17"/>
          <p:cNvSpPr/>
          <p:nvPr/>
        </p:nvSpPr>
        <p:spPr>
          <a:xfrm>
            <a:off x="554182" y="1011218"/>
            <a:ext cx="11083636" cy="10085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18" name="bk object 18"/>
          <p:cNvSpPr/>
          <p:nvPr/>
        </p:nvSpPr>
        <p:spPr>
          <a:xfrm>
            <a:off x="10869353" y="6154718"/>
            <a:ext cx="199505" cy="9412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19" name="bk object 19"/>
          <p:cNvSpPr/>
          <p:nvPr/>
        </p:nvSpPr>
        <p:spPr>
          <a:xfrm>
            <a:off x="11176000" y="6173545"/>
            <a:ext cx="66962" cy="75640"/>
          </a:xfrm>
          <a:custGeom>
            <a:avLst/>
            <a:gdLst/>
            <a:ahLst/>
            <a:cxnLst/>
            <a:rect l="l" t="t" r="r" b="b"/>
            <a:pathLst>
              <a:path w="55245" h="85725">
                <a:moveTo>
                  <a:pt x="0" y="0"/>
                </a:moveTo>
                <a:lnTo>
                  <a:pt x="54864" y="0"/>
                </a:lnTo>
                <a:lnTo>
                  <a:pt x="54864" y="85344"/>
                </a:lnTo>
                <a:lnTo>
                  <a:pt x="0" y="85344"/>
                </a:lnTo>
                <a:lnTo>
                  <a:pt x="0" y="0"/>
                </a:lnTo>
                <a:close/>
              </a:path>
            </a:pathLst>
          </a:custGeom>
          <a:solidFill>
            <a:srgbClr val="C11F2D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20" name="bk object 20"/>
          <p:cNvSpPr/>
          <p:nvPr/>
        </p:nvSpPr>
        <p:spPr>
          <a:xfrm>
            <a:off x="11102110" y="6164804"/>
            <a:ext cx="214745" cy="0"/>
          </a:xfrm>
          <a:custGeom>
            <a:avLst/>
            <a:gdLst/>
            <a:ahLst/>
            <a:cxnLst/>
            <a:rect l="l" t="t" r="r" b="b"/>
            <a:pathLst>
              <a:path w="177165">
                <a:moveTo>
                  <a:pt x="0" y="0"/>
                </a:moveTo>
                <a:lnTo>
                  <a:pt x="176784" y="0"/>
                </a:lnTo>
              </a:path>
            </a:pathLst>
          </a:custGeom>
          <a:ln w="22860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21" name="bk object 21"/>
          <p:cNvSpPr/>
          <p:nvPr/>
        </p:nvSpPr>
        <p:spPr>
          <a:xfrm>
            <a:off x="10352115" y="6154718"/>
            <a:ext cx="208742" cy="9412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22" name="bk object 22"/>
          <p:cNvSpPr/>
          <p:nvPr/>
        </p:nvSpPr>
        <p:spPr>
          <a:xfrm>
            <a:off x="10597804" y="6154718"/>
            <a:ext cx="219825" cy="9412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23" name="bk object 23"/>
          <p:cNvSpPr/>
          <p:nvPr/>
        </p:nvSpPr>
        <p:spPr>
          <a:xfrm>
            <a:off x="10352116" y="6312722"/>
            <a:ext cx="969818" cy="0"/>
          </a:xfrm>
          <a:custGeom>
            <a:avLst/>
            <a:gdLst/>
            <a:ahLst/>
            <a:cxnLst/>
            <a:rect l="l" t="t" r="r" b="b"/>
            <a:pathLst>
              <a:path w="800100">
                <a:moveTo>
                  <a:pt x="0" y="0"/>
                </a:moveTo>
                <a:lnTo>
                  <a:pt x="800100" y="0"/>
                </a:lnTo>
              </a:path>
            </a:pathLst>
          </a:custGeom>
          <a:ln w="53340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24" name="bk object 24"/>
          <p:cNvSpPr/>
          <p:nvPr/>
        </p:nvSpPr>
        <p:spPr>
          <a:xfrm>
            <a:off x="1209040" y="6196405"/>
            <a:ext cx="0" cy="118782"/>
          </a:xfrm>
          <a:custGeom>
            <a:avLst/>
            <a:gdLst/>
            <a:ahLst/>
            <a:cxnLst/>
            <a:rect l="l" t="t" r="r" b="b"/>
            <a:pathLst>
              <a:path h="134620">
                <a:moveTo>
                  <a:pt x="0" y="0"/>
                </a:moveTo>
                <a:lnTo>
                  <a:pt x="0" y="134112"/>
                </a:lnTo>
              </a:path>
            </a:pathLst>
          </a:custGeom>
          <a:ln w="10668">
            <a:solidFill>
              <a:srgbClr val="595959"/>
            </a:solidFill>
          </a:ln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25" name="bk object 25"/>
          <p:cNvSpPr/>
          <p:nvPr/>
        </p:nvSpPr>
        <p:spPr>
          <a:xfrm>
            <a:off x="554182" y="1210236"/>
            <a:ext cx="11083636" cy="44778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382915" y="1052442"/>
            <a:ext cx="6629400" cy="393826"/>
          </a:xfrm>
        </p:spPr>
        <p:txBody>
          <a:bodyPr lIns="0" tIns="0" rIns="0" bIns="0"/>
          <a:lstStyle>
            <a:lvl1pPr>
              <a:defRPr sz="2559" b="0" i="0">
                <a:solidFill>
                  <a:schemeClr val="tx1"/>
                </a:solidFill>
                <a:latin typeface="Times New Roman"/>
                <a:cs typeface="Times New Roman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06" b="0" i="0">
                <a:solidFill>
                  <a:schemeClr val="tx1"/>
                </a:solidFill>
                <a:latin typeface="Times New Roman"/>
                <a:cs typeface="Times New Roman"/>
              </a:defRPr>
            </a:lvl1pPr>
          </a:lstStyle>
          <a:p>
            <a:pPr marL="11206" marR="4483">
              <a:spcBef>
                <a:spcPts val="13"/>
              </a:spcBef>
            </a:pPr>
            <a:r>
              <a:rPr lang="sv-SE" spc="-26"/>
              <a:t>EVOLIS- </a:t>
            </a:r>
            <a:r>
              <a:rPr lang="sv-SE" spc="35"/>
              <a:t>Saft  </a:t>
            </a:r>
            <a:r>
              <a:rPr lang="sv-SE" spc="22"/>
              <a:t>6-7 </a:t>
            </a:r>
            <a:r>
              <a:rPr lang="sv-SE" spc="31"/>
              <a:t>NOV</a:t>
            </a:r>
            <a:r>
              <a:rPr lang="sv-SE" spc="-62"/>
              <a:t> </a:t>
            </a:r>
            <a:r>
              <a:rPr lang="sv-SE" spc="31"/>
              <a:t>2019</a:t>
            </a:r>
            <a:endParaRPr lang="sv-SE" spc="31"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2/2019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588" b="0" i="0">
                <a:solidFill>
                  <a:schemeClr val="tx1"/>
                </a:solidFill>
                <a:latin typeface="Times New Roman"/>
                <a:cs typeface="Times New Roman"/>
              </a:defRPr>
            </a:lvl1pPr>
          </a:lstStyle>
          <a:p>
            <a:pPr marL="59955">
              <a:lnSpc>
                <a:spcPts val="1244"/>
              </a:lnSpc>
            </a:pPr>
            <a:fld id="{81D60167-4931-47E6-BA6A-407CBD079E47}" type="slidenum">
              <a:rPr lang="fr-FR" sz="1059" spc="53" smtClean="0"/>
              <a:pPr marL="59955">
                <a:lnSpc>
                  <a:spcPts val="1244"/>
                </a:lnSpc>
              </a:pPr>
              <a:t>‹N°›</a:t>
            </a:fld>
            <a:endParaRPr lang="fr-FR" sz="1059"/>
          </a:p>
        </p:txBody>
      </p:sp>
    </p:spTree>
    <p:extLst>
      <p:ext uri="{BB962C8B-B14F-4D97-AF65-F5344CB8AC3E}">
        <p14:creationId xmlns:p14="http://schemas.microsoft.com/office/powerpoint/2010/main" val="1034844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+ image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Espace réservé pour une image  10"/>
          <p:cNvSpPr>
            <a:spLocks noGrp="1"/>
          </p:cNvSpPr>
          <p:nvPr>
            <p:ph type="pic" sz="quarter" idx="13" hasCustomPrompt="1"/>
          </p:nvPr>
        </p:nvSpPr>
        <p:spPr>
          <a:xfrm>
            <a:off x="-13163" y="1001918"/>
            <a:ext cx="3119669" cy="5229549"/>
          </a:xfrm>
        </p:spPr>
        <p:txBody>
          <a:bodyPr/>
          <a:lstStyle/>
          <a:p>
            <a:r>
              <a:rPr lang="en-US" dirty="0"/>
              <a:t>Click on the icon to add an image</a:t>
            </a:r>
          </a:p>
          <a:p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3695734" y="1535113"/>
            <a:ext cx="8161833" cy="639763"/>
          </a:xfrm>
        </p:spPr>
        <p:txBody>
          <a:bodyPr anchor="b">
            <a:normAutofit/>
          </a:bodyPr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3695734" y="2174875"/>
            <a:ext cx="8161833" cy="395128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fr-FR" dirty="0"/>
              <a:t>First </a:t>
            </a:r>
            <a:r>
              <a:rPr lang="fr-FR" dirty="0" err="1"/>
              <a:t>level</a:t>
            </a:r>
            <a:endParaRPr lang="fr-FR" dirty="0"/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D2473F-88A5-49A5-A347-C33A6A16DE0F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719403" y="6448745"/>
            <a:ext cx="0" cy="180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00927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9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8" name="Obje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bject 5"/>
          <p:cNvSpPr/>
          <p:nvPr userDrawn="1"/>
        </p:nvSpPr>
        <p:spPr>
          <a:xfrm>
            <a:off x="0" y="1193372"/>
            <a:ext cx="7608147" cy="2792307"/>
          </a:xfrm>
          <a:custGeom>
            <a:avLst/>
            <a:gdLst/>
            <a:ahLst/>
            <a:cxnLst/>
            <a:rect l="l" t="t" r="r" b="b"/>
            <a:pathLst>
              <a:path w="5706110" h="2094230">
                <a:moveTo>
                  <a:pt x="5705995" y="0"/>
                </a:moveTo>
                <a:lnTo>
                  <a:pt x="0" y="0"/>
                </a:lnTo>
                <a:lnTo>
                  <a:pt x="0" y="2093912"/>
                </a:lnTo>
                <a:lnTo>
                  <a:pt x="4788001" y="2093912"/>
                </a:lnTo>
                <a:lnTo>
                  <a:pt x="5705995" y="0"/>
                </a:lnTo>
                <a:close/>
              </a:path>
            </a:pathLst>
          </a:custGeom>
          <a:solidFill>
            <a:srgbClr val="008FC2">
              <a:alpha val="69804"/>
            </a:srgbClr>
          </a:solidFill>
        </p:spPr>
        <p:txBody>
          <a:bodyPr wrap="square" lIns="0" tIns="0" rIns="0" bIns="0" rtlCol="0"/>
          <a:lstStyle/>
          <a:p>
            <a:endParaRPr sz="2400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914400" y="1862965"/>
            <a:ext cx="5469632" cy="1470025"/>
          </a:xfrm>
        </p:spPr>
        <p:txBody>
          <a:bodyPr>
            <a:normAutofit/>
          </a:bodyPr>
          <a:lstStyle>
            <a:lvl1pPr>
              <a:defRPr sz="5333"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Presentation</a:t>
            </a:r>
            <a:br>
              <a:rPr lang="fr-FR" dirty="0"/>
            </a:br>
            <a:r>
              <a:rPr lang="fr-FR" dirty="0" err="1"/>
              <a:t>title</a:t>
            </a:r>
            <a:endParaRPr lang="fr-FR" dirty="0"/>
          </a:p>
        </p:txBody>
      </p:sp>
      <p:cxnSp>
        <p:nvCxnSpPr>
          <p:cNvPr id="9" name="Connecteur droit 8"/>
          <p:cNvCxnSpPr/>
          <p:nvPr userDrawn="1"/>
        </p:nvCxnSpPr>
        <p:spPr>
          <a:xfrm>
            <a:off x="600777" y="1948180"/>
            <a:ext cx="0" cy="141938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0" y="6081608"/>
            <a:ext cx="12192000" cy="7763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21159116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3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8" name="Obje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/>
          <p:nvPr userDrawn="1"/>
        </p:nvSpPr>
        <p:spPr>
          <a:xfrm>
            <a:off x="0" y="0"/>
            <a:ext cx="12192000" cy="9990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>
              <a:solidFill>
                <a:schemeClr val="accent4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37634" y="1"/>
            <a:ext cx="11319933" cy="9990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fr-FR" dirty="0"/>
              <a:t>Agenda</a:t>
            </a:r>
          </a:p>
        </p:txBody>
      </p:sp>
      <p:sp>
        <p:nvSpPr>
          <p:cNvPr id="7" name="object 3"/>
          <p:cNvSpPr/>
          <p:nvPr userDrawn="1"/>
        </p:nvSpPr>
        <p:spPr>
          <a:xfrm>
            <a:off x="2" y="1003301"/>
            <a:ext cx="9655333" cy="5235195"/>
          </a:xfrm>
          <a:custGeom>
            <a:avLst/>
            <a:gdLst>
              <a:gd name="connsiteX0" fmla="*/ 7306297 w 7306297"/>
              <a:gd name="connsiteY0" fmla="*/ 0 h 5806795"/>
              <a:gd name="connsiteX1" fmla="*/ 0 w 7306297"/>
              <a:gd name="connsiteY1" fmla="*/ 0 h 5806795"/>
              <a:gd name="connsiteX2" fmla="*/ 0 w 7306297"/>
              <a:gd name="connsiteY2" fmla="*/ 5806795 h 5806795"/>
              <a:gd name="connsiteX3" fmla="*/ 6016490 w 7306297"/>
              <a:gd name="connsiteY3" fmla="*/ 5806795 h 5806795"/>
              <a:gd name="connsiteX4" fmla="*/ 7306297 w 7306297"/>
              <a:gd name="connsiteY4" fmla="*/ 0 h 58067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06297" h="5806795">
                <a:moveTo>
                  <a:pt x="7306297" y="0"/>
                </a:moveTo>
                <a:lnTo>
                  <a:pt x="0" y="0"/>
                </a:lnTo>
                <a:lnTo>
                  <a:pt x="0" y="5806795"/>
                </a:lnTo>
                <a:lnTo>
                  <a:pt x="6016490" y="5806795"/>
                </a:lnTo>
                <a:lnTo>
                  <a:pt x="7306297" y="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</p:spPr>
        <p:txBody>
          <a:bodyPr wrap="square" lIns="0" tIns="0" rIns="0" bIns="0" rtlCol="0"/>
          <a:lstStyle/>
          <a:p>
            <a:endParaRPr sz="240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537634" y="1600200"/>
            <a:ext cx="7382569" cy="4638296"/>
          </a:xfrm>
        </p:spPr>
        <p:txBody>
          <a:bodyPr>
            <a:normAutofit/>
          </a:bodyPr>
          <a:lstStyle>
            <a:lvl1pPr marL="609585" indent="-609585">
              <a:buFont typeface="+mj-lt"/>
              <a:buAutoNum type="arabicPeriod"/>
              <a:defRPr sz="29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ype </a:t>
            </a:r>
            <a:r>
              <a:rPr lang="fr-FR" dirty="0" err="1"/>
              <a:t>here</a:t>
            </a:r>
            <a:endParaRPr lang="fr-FR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6218768"/>
            <a:ext cx="12192000" cy="6392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Planning visit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D2473F-88A5-49A5-A347-C33A6A16DE0F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22" name="Connecteur droit 21"/>
          <p:cNvCxnSpPr/>
          <p:nvPr userDrawn="1"/>
        </p:nvCxnSpPr>
        <p:spPr>
          <a:xfrm>
            <a:off x="719403" y="6448745"/>
            <a:ext cx="0" cy="180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ject 17"/>
          <p:cNvSpPr txBox="1">
            <a:spLocks/>
          </p:cNvSpPr>
          <p:nvPr userDrawn="1"/>
        </p:nvSpPr>
        <p:spPr>
          <a:xfrm>
            <a:off x="4351637" y="6405331"/>
            <a:ext cx="348872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933"/>
            <a:r>
              <a:rPr lang="fr-FR" sz="1200" dirty="0">
                <a:latin typeface="Century Gothic" pitchFamily="34" charset="0"/>
              </a:rPr>
              <a:t>Informations propriété de </a:t>
            </a:r>
            <a:r>
              <a:rPr lang="fr-FR" sz="1200" dirty="0" err="1">
                <a:latin typeface="Century Gothic" pitchFamily="34" charset="0"/>
              </a:rPr>
              <a:t>Saft</a:t>
            </a:r>
            <a:r>
              <a:rPr lang="fr-FR" sz="1200" dirty="0">
                <a:latin typeface="Century Gothic" pitchFamily="34" charset="0"/>
              </a:rPr>
              <a:t> – Confidentiel</a:t>
            </a:r>
            <a:endParaRPr lang="fr-FR" sz="1200" spc="-7" dirty="0">
              <a:latin typeface="Century Gothic" pitchFamily="34" charset="0"/>
            </a:endParaRP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38856F39-BFD5-400A-8162-7FFFB0DED35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082" y="6345707"/>
            <a:ext cx="1120485" cy="385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140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>
            <a:off x="0" y="6231467"/>
            <a:ext cx="12192000" cy="6265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graphicFrame>
        <p:nvGraphicFramePr>
          <p:cNvPr id="8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7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8" name="Obje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Planning visit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D2473F-88A5-49A5-A347-C33A6A16DE0F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695733" y="1508787"/>
            <a:ext cx="7630551" cy="3360373"/>
          </a:xfrm>
        </p:spPr>
        <p:txBody>
          <a:bodyPr anchor="ctr"/>
          <a:lstStyle>
            <a:lvl1pPr algn="l">
              <a:defRPr sz="5333" b="1" cap="all"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Chapter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cxnSp>
        <p:nvCxnSpPr>
          <p:cNvPr id="20" name="Connecteur droit 19"/>
          <p:cNvCxnSpPr/>
          <p:nvPr userDrawn="1"/>
        </p:nvCxnSpPr>
        <p:spPr>
          <a:xfrm>
            <a:off x="719403" y="6448745"/>
            <a:ext cx="0" cy="180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bject 17"/>
          <p:cNvSpPr txBox="1">
            <a:spLocks/>
          </p:cNvSpPr>
          <p:nvPr userDrawn="1"/>
        </p:nvSpPr>
        <p:spPr>
          <a:xfrm>
            <a:off x="4351637" y="6405331"/>
            <a:ext cx="348872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933"/>
            <a:r>
              <a:rPr lang="fr-FR" sz="1200" dirty="0">
                <a:latin typeface="Century Gothic" pitchFamily="34" charset="0"/>
              </a:rPr>
              <a:t>Informations propriété de </a:t>
            </a:r>
            <a:r>
              <a:rPr lang="fr-FR" sz="1200" dirty="0" err="1">
                <a:latin typeface="Century Gothic" pitchFamily="34" charset="0"/>
              </a:rPr>
              <a:t>Saft</a:t>
            </a:r>
            <a:r>
              <a:rPr lang="fr-FR" sz="1200" dirty="0">
                <a:latin typeface="Century Gothic" pitchFamily="34" charset="0"/>
              </a:rPr>
              <a:t> – Confidentiel</a:t>
            </a:r>
            <a:endParaRPr lang="fr-FR" sz="1200" spc="-7" dirty="0">
              <a:latin typeface="Century Gothic" pitchFamily="34" charset="0"/>
            </a:endParaRP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3D1913CA-11CE-4637-8CA6-EBE5BF3C2E3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082" y="6345707"/>
            <a:ext cx="1120485" cy="385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8524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537634" y="1892830"/>
            <a:ext cx="11319932" cy="423333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133"/>
            </a:lvl2pPr>
            <a:lvl3pPr>
              <a:defRPr sz="1867" baseline="0"/>
            </a:lvl3pPr>
            <a:lvl4pPr>
              <a:defRPr sz="16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First </a:t>
            </a:r>
            <a:r>
              <a:rPr lang="fr-FR" dirty="0" err="1"/>
              <a:t>level</a:t>
            </a:r>
            <a:endParaRPr lang="fr-FR" dirty="0"/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Planning visite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D2473F-88A5-49A5-A347-C33A6A16DE0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>
          <a:xfrm>
            <a:off x="537634" y="1316567"/>
            <a:ext cx="8439151" cy="576263"/>
          </a:xfrm>
        </p:spPr>
        <p:txBody>
          <a:bodyPr>
            <a:noAutofit/>
          </a:bodyPr>
          <a:lstStyle>
            <a:lvl1pPr marL="0" indent="0">
              <a:buNone/>
              <a:defRPr sz="2667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cxnSp>
        <p:nvCxnSpPr>
          <p:cNvPr id="9" name="Connecteur droit 8"/>
          <p:cNvCxnSpPr/>
          <p:nvPr userDrawn="1"/>
        </p:nvCxnSpPr>
        <p:spPr>
          <a:xfrm>
            <a:off x="719403" y="6448745"/>
            <a:ext cx="0" cy="180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54759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9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10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9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3752" y="78885"/>
            <a:ext cx="8373291" cy="72786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endParaRPr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12323" y="132696"/>
            <a:ext cx="3055926" cy="848175"/>
          </a:xfrm>
          <a:prstGeom prst="rect">
            <a:avLst/>
          </a:prstGeom>
        </p:spPr>
      </p:pic>
      <p:sp>
        <p:nvSpPr>
          <p:cNvPr id="8" name="Subtitle 2"/>
          <p:cNvSpPr txBox="1">
            <a:spLocks/>
          </p:cNvSpPr>
          <p:nvPr/>
        </p:nvSpPr>
        <p:spPr>
          <a:xfrm>
            <a:off x="8660674" y="980871"/>
            <a:ext cx="3694957" cy="4505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spcBef>
                <a:spcPts val="3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10000"/>
              <a:buFont typeface="Wingdings 2" pitchFamily="18" charset="2"/>
              <a:buNone/>
              <a:defRPr sz="2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6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10000"/>
              <a:buFont typeface="Wingdings 2" pitchFamily="18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6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None/>
              <a:defRPr lang="en-US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None/>
              <a:defRPr lang="en-US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None/>
              <a:defRPr lang="en-US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None/>
              <a:defRPr lang="en-US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800" b="1" i="1" dirty="0">
                <a:solidFill>
                  <a:srgbClr val="FF0000"/>
                </a:solidFill>
              </a:rPr>
              <a:t>Journée occasion 2019</a:t>
            </a:r>
          </a:p>
        </p:txBody>
      </p:sp>
      <p:sp>
        <p:nvSpPr>
          <p:cNvPr id="9" name="Text Placeholder 2"/>
          <p:cNvSpPr txBox="1">
            <a:spLocks/>
          </p:cNvSpPr>
          <p:nvPr userDrawn="1"/>
        </p:nvSpPr>
        <p:spPr>
          <a:xfrm>
            <a:off x="10734917" y="6335885"/>
            <a:ext cx="1285434" cy="323469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0" indent="0" algn="l" defTabSz="914400" rtl="0" eaLnBrk="1" latinLnBrk="0" hangingPunct="1">
              <a:spcBef>
                <a:spcPts val="2000"/>
              </a:spcBef>
              <a:buClr>
                <a:schemeClr val="accent1">
                  <a:lumMod val="60000"/>
                  <a:lumOff val="40000"/>
                </a:schemeClr>
              </a:buClr>
              <a:buSzPct val="150000"/>
              <a:buFontTx/>
              <a:buNone/>
              <a:defRPr sz="1600" b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336550" algn="l" defTabSz="914400" rtl="0" eaLnBrk="1" latinLnBrk="0" hangingPunct="1"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10000"/>
              <a:buFont typeface="Wingdings 2" pitchFamily="18" charset="2"/>
              <a:buChar char=""/>
              <a:defRPr sz="2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8375" indent="-282575" algn="l" defTabSz="914400" rtl="0" eaLnBrk="1" latinLnBrk="0" hangingPunct="1">
              <a:spcBef>
                <a:spcPts val="6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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63650" indent="-295275" algn="l" defTabSz="914400" rtl="0" eaLnBrk="1" latinLnBrk="0" hangingPunct="1"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46225" indent="-282575" algn="l" defTabSz="914400" rtl="0" eaLnBrk="1" latinLnBrk="0" hangingPunct="1">
              <a:spcBef>
                <a:spcPts val="6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28800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1177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398713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6892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06/11/2019</a:t>
            </a:r>
          </a:p>
        </p:txBody>
      </p:sp>
      <p:sp>
        <p:nvSpPr>
          <p:cNvPr id="10" name="Espace réservé de la date 2"/>
          <p:cNvSpPr txBox="1">
            <a:spLocks/>
          </p:cNvSpPr>
          <p:nvPr userDrawn="1"/>
        </p:nvSpPr>
        <p:spPr>
          <a:xfrm>
            <a:off x="215192" y="6335885"/>
            <a:ext cx="3466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4572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600" dirty="0"/>
              <a:t>www.argus-chariot.com</a:t>
            </a:r>
          </a:p>
        </p:txBody>
      </p:sp>
    </p:spTree>
    <p:extLst>
      <p:ext uri="{BB962C8B-B14F-4D97-AF65-F5344CB8AC3E}">
        <p14:creationId xmlns:p14="http://schemas.microsoft.com/office/powerpoint/2010/main" val="1630406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709" r:id="rId4"/>
    <p:sldLayoutId id="2147483710" r:id="rId5"/>
  </p:sldLayoutIdLst>
  <p:txStyles>
    <p:titleStyle>
      <a:lvl1pPr algn="ctr" defTabSz="914400" rtl="0" eaLnBrk="1" latinLnBrk="0" hangingPunct="1">
        <a:spcBef>
          <a:spcPct val="0"/>
        </a:spcBef>
        <a:buNone/>
        <a:defRPr sz="4000" b="1" i="0" kern="1200">
          <a:solidFill>
            <a:srgbClr val="FF6600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2000"/>
        </a:spcBef>
        <a:buClr>
          <a:schemeClr val="accent1">
            <a:lumMod val="60000"/>
            <a:lumOff val="40000"/>
          </a:schemeClr>
        </a:buClr>
        <a:buSzPct val="150000"/>
        <a:buFontTx/>
        <a:buNone/>
        <a:defRPr sz="1600" b="0" kern="1200" baseline="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336550" algn="l" defTabSz="914400" rtl="0" eaLnBrk="1" latinLnBrk="0" hangingPunct="1">
        <a:spcBef>
          <a:spcPts val="600"/>
        </a:spcBef>
        <a:buClr>
          <a:schemeClr val="accent1">
            <a:lumMod val="75000"/>
          </a:schemeClr>
        </a:buClr>
        <a:buSzPct val="110000"/>
        <a:buFont typeface="Wingdings 2" pitchFamily="18" charset="2"/>
        <a:buChar char=""/>
        <a:defRPr sz="2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968375" indent="-282575" algn="l" defTabSz="914400" rtl="0" eaLnBrk="1" latinLnBrk="0" hangingPunct="1">
        <a:spcBef>
          <a:spcPts val="600"/>
        </a:spcBef>
        <a:buClr>
          <a:schemeClr val="accent1">
            <a:lumMod val="60000"/>
            <a:lumOff val="40000"/>
          </a:schemeClr>
        </a:buClr>
        <a:buSzPct val="110000"/>
        <a:buFont typeface="Wingdings 2" pitchFamily="18" charset="2"/>
        <a:buChar char="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263650" indent="-295275" algn="l" defTabSz="914400" rtl="0" eaLnBrk="1" latinLnBrk="0" hangingPunct="1">
        <a:spcBef>
          <a:spcPts val="600"/>
        </a:spcBef>
        <a:buClr>
          <a:schemeClr val="accent1">
            <a:lumMod val="75000"/>
          </a:schemeClr>
        </a:buClr>
        <a:buSzPct val="110000"/>
        <a:buFont typeface="Wingdings 2" pitchFamily="18" charset="2"/>
        <a:buChar char="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1546225" indent="-282575" algn="l" defTabSz="914400" rtl="0" eaLnBrk="1" latinLnBrk="0" hangingPunct="1">
        <a:spcBef>
          <a:spcPts val="600"/>
        </a:spcBef>
        <a:buClr>
          <a:schemeClr val="accent1">
            <a:lumMod val="60000"/>
            <a:lumOff val="40000"/>
          </a:schemeClr>
        </a:buClr>
        <a:buSzPct val="110000"/>
        <a:buFont typeface="Wingdings 2" pitchFamily="18" charset="2"/>
        <a:buChar char="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1828800" indent="-282575" algn="l" defTabSz="914400" rtl="0" eaLnBrk="1" latinLnBrk="0" hangingPunct="1">
        <a:spcBef>
          <a:spcPct val="20000"/>
        </a:spcBef>
        <a:buClr>
          <a:schemeClr val="accent2"/>
        </a:buClr>
        <a:buSzPct val="110000"/>
        <a:buFont typeface="Wingdings 2" pitchFamily="18" charset="2"/>
        <a:buChar char=""/>
        <a:defRPr lang="en-US" sz="1800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117725" indent="-282575" algn="l" defTabSz="914400" rtl="0" eaLnBrk="1" latinLnBrk="0" hangingPunct="1">
        <a:spcBef>
          <a:spcPct val="20000"/>
        </a:spcBef>
        <a:buClr>
          <a:schemeClr val="accent1">
            <a:lumMod val="60000"/>
            <a:lumOff val="40000"/>
          </a:schemeClr>
        </a:buClr>
        <a:buSzPct val="110000"/>
        <a:buFont typeface="Wingdings 2" pitchFamily="18" charset="2"/>
        <a:buChar char=""/>
        <a:defRPr lang="en-US" sz="1800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2398713" indent="-282575" algn="l" defTabSz="914400" rtl="0" eaLnBrk="1" latinLnBrk="0" hangingPunct="1">
        <a:spcBef>
          <a:spcPct val="20000"/>
        </a:spcBef>
        <a:buClr>
          <a:schemeClr val="accent2"/>
        </a:buClr>
        <a:buSzPct val="110000"/>
        <a:buFont typeface="Wingdings 2" pitchFamily="18" charset="2"/>
        <a:buChar char=""/>
        <a:defRPr lang="en-US" sz="1800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2689225" indent="-282575" algn="l" defTabSz="914400" rtl="0" eaLnBrk="1" latinLnBrk="0" hangingPunct="1">
        <a:spcBef>
          <a:spcPct val="20000"/>
        </a:spcBef>
        <a:buClr>
          <a:schemeClr val="accent1">
            <a:lumMod val="60000"/>
            <a:lumOff val="40000"/>
          </a:schemeClr>
        </a:buClr>
        <a:buSzPct val="110000"/>
        <a:buFont typeface="Wingdings 2" pitchFamily="18" charset="2"/>
        <a:buChar char=""/>
        <a:defRPr lang="en-US" sz="1800" kern="120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5" name="Diapositive think-cell" r:id="rId11" imgW="270" imgH="270" progId="TCLayout.ActiveDocument.1">
                  <p:embed/>
                </p:oleObj>
              </mc:Choice>
              <mc:Fallback>
                <p:oleObj name="Diapositive think-cell" r:id="rId11" imgW="270" imgH="270" progId="TCLayout.ActiveDocument.1">
                  <p:embed/>
                  <p:pic>
                    <p:nvPicPr>
                      <p:cNvPr id="7" name="Objet 6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537634" y="1"/>
            <a:ext cx="11319933" cy="999065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537634" y="1612901"/>
            <a:ext cx="11044767" cy="451326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fr-FR" dirty="0"/>
              <a:t>First </a:t>
            </a:r>
            <a:r>
              <a:rPr lang="fr-FR" dirty="0" err="1"/>
              <a:t>level</a:t>
            </a:r>
            <a:endParaRPr lang="fr-FR" dirty="0"/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19403" y="6356351"/>
            <a:ext cx="13543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fr-FR"/>
              <a:t>Planning visit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-14784" y="6356351"/>
            <a:ext cx="734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52D2473F-88A5-49A5-A347-C33A6A16DE0F}" type="slidenum">
              <a:rPr lang="fr-FR" smtClean="0"/>
              <a:pPr/>
              <a:t>‹N°›</a:t>
            </a:fld>
            <a:endParaRPr lang="fr-FR" dirty="0"/>
          </a:p>
        </p:txBody>
      </p:sp>
      <p:grpSp>
        <p:nvGrpSpPr>
          <p:cNvPr id="20" name="Groupe 19"/>
          <p:cNvGrpSpPr/>
          <p:nvPr userDrawn="1"/>
        </p:nvGrpSpPr>
        <p:grpSpPr>
          <a:xfrm>
            <a:off x="0" y="995680"/>
            <a:ext cx="12192000" cy="5235787"/>
            <a:chOff x="403225" y="746760"/>
            <a:chExt cx="8489950" cy="3926840"/>
          </a:xfrm>
        </p:grpSpPr>
        <p:cxnSp>
          <p:nvCxnSpPr>
            <p:cNvPr id="21" name="Connecteur droit 20"/>
            <p:cNvCxnSpPr/>
            <p:nvPr/>
          </p:nvCxnSpPr>
          <p:spPr>
            <a:xfrm>
              <a:off x="403225" y="746760"/>
              <a:ext cx="8489950" cy="0"/>
            </a:xfrm>
            <a:prstGeom prst="line">
              <a:avLst/>
            </a:prstGeom>
            <a:ln>
              <a:solidFill>
                <a:schemeClr val="accent1"/>
              </a:solidFill>
            </a:ln>
            <a:effectLst>
              <a:outerShdw blurRad="38100" dist="38100" dir="1740000" algn="tl" rotWithShape="0">
                <a:prstClr val="black">
                  <a:alpha val="11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necteur droit 21"/>
            <p:cNvCxnSpPr/>
            <p:nvPr/>
          </p:nvCxnSpPr>
          <p:spPr>
            <a:xfrm>
              <a:off x="403225" y="4673600"/>
              <a:ext cx="8489255" cy="0"/>
            </a:xfrm>
            <a:prstGeom prst="line">
              <a:avLst/>
            </a:prstGeom>
            <a:ln>
              <a:solidFill>
                <a:schemeClr val="accent1"/>
              </a:solidFill>
            </a:ln>
            <a:effectLst>
              <a:outerShdw blurRad="38100" dist="38100" dir="1740000" algn="tl" rotWithShape="0">
                <a:prstClr val="black">
                  <a:alpha val="11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4" name="Connecteur droit 23"/>
          <p:cNvCxnSpPr/>
          <p:nvPr userDrawn="1"/>
        </p:nvCxnSpPr>
        <p:spPr>
          <a:xfrm>
            <a:off x="719403" y="6448745"/>
            <a:ext cx="0" cy="180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bject 17"/>
          <p:cNvSpPr txBox="1">
            <a:spLocks/>
          </p:cNvSpPr>
          <p:nvPr userDrawn="1"/>
        </p:nvSpPr>
        <p:spPr>
          <a:xfrm>
            <a:off x="4351637" y="6405331"/>
            <a:ext cx="348872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933"/>
            <a:r>
              <a:rPr lang="fr-FR" sz="1200" dirty="0">
                <a:latin typeface="Century Gothic" pitchFamily="34" charset="0"/>
              </a:rPr>
              <a:t>Informations propriété de </a:t>
            </a:r>
            <a:r>
              <a:rPr lang="fr-FR" sz="1200" dirty="0" err="1">
                <a:latin typeface="Century Gothic" pitchFamily="34" charset="0"/>
              </a:rPr>
              <a:t>Saft</a:t>
            </a:r>
            <a:r>
              <a:rPr lang="fr-FR" sz="1200" dirty="0">
                <a:latin typeface="Century Gothic" pitchFamily="34" charset="0"/>
              </a:rPr>
              <a:t> – Confidentiel</a:t>
            </a:r>
            <a:endParaRPr lang="fr-FR" sz="1200" spc="-7" dirty="0">
              <a:latin typeface="Century Gothic" pitchFamily="34" charset="0"/>
            </a:endParaRPr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DBABFAD9-3937-45C2-B583-82869E866C00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082" y="6345707"/>
            <a:ext cx="1120485" cy="385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0829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</p:sldLayoutIdLst>
  <p:hf hdr="0" dt="0"/>
  <p:txStyles>
    <p:titleStyle>
      <a:lvl1pPr algn="l" defTabSz="1219170" rtl="0" eaLnBrk="1" latinLnBrk="0" hangingPunct="1">
        <a:spcBef>
          <a:spcPct val="0"/>
        </a:spcBef>
        <a:buNone/>
        <a:defRPr sz="2933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355591" indent="-355591" algn="l" defTabSz="1219170" rtl="0" eaLnBrk="1" latinLnBrk="0" hangingPunct="1">
        <a:spcBef>
          <a:spcPts val="800"/>
        </a:spcBef>
        <a:spcAft>
          <a:spcPts val="800"/>
        </a:spcAft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17533" indent="-38099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tabLst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77357" indent="-304792" algn="l" defTabSz="1219170" rtl="0" eaLnBrk="1" latinLnBrk="0" hangingPunct="1">
        <a:spcBef>
          <a:spcPts val="800"/>
        </a:spcBef>
        <a:spcAft>
          <a:spcPts val="800"/>
        </a:spcAft>
        <a:buSzPct val="70000"/>
        <a:buFont typeface="Century Gothic" panose="020B0502020202020204" pitchFamily="34" charset="0"/>
        <a:buChar char="○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432948" indent="-304792" algn="l" defTabSz="1219170" rtl="0" eaLnBrk="1" latinLnBrk="0" hangingPunct="1">
        <a:spcBef>
          <a:spcPts val="800"/>
        </a:spcBef>
        <a:spcAft>
          <a:spcPts val="8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6.png"/><Relationship Id="rId3" Type="http://schemas.openxmlformats.org/officeDocument/2006/relationships/image" Target="../media/image5.png"/><Relationship Id="rId7" Type="http://schemas.openxmlformats.org/officeDocument/2006/relationships/image" Target="../media/image13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7.jp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9.jpg"/><Relationship Id="rId3" Type="http://schemas.openxmlformats.org/officeDocument/2006/relationships/image" Target="../media/image5.png"/><Relationship Id="rId7" Type="http://schemas.openxmlformats.org/officeDocument/2006/relationships/image" Target="../media/image13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11" Type="http://schemas.openxmlformats.org/officeDocument/2006/relationships/image" Target="../media/image142.png"/><Relationship Id="rId5" Type="http://schemas.openxmlformats.org/officeDocument/2006/relationships/image" Target="../media/image7.png"/><Relationship Id="rId10" Type="http://schemas.openxmlformats.org/officeDocument/2006/relationships/image" Target="../media/image141.jpg"/><Relationship Id="rId4" Type="http://schemas.openxmlformats.org/officeDocument/2006/relationships/image" Target="../media/image6.png"/><Relationship Id="rId9" Type="http://schemas.openxmlformats.org/officeDocument/2006/relationships/image" Target="../media/image140.jp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5.jpg"/><Relationship Id="rId3" Type="http://schemas.openxmlformats.org/officeDocument/2006/relationships/image" Target="../media/image5.png"/><Relationship Id="rId7" Type="http://schemas.openxmlformats.org/officeDocument/2006/relationships/image" Target="../media/image144.jp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3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inkedin.com/company/saft?" TargetMode="External"/><Relationship Id="rId13" Type="http://schemas.openxmlformats.org/officeDocument/2006/relationships/image" Target="../media/image152.png"/><Relationship Id="rId3" Type="http://schemas.openxmlformats.org/officeDocument/2006/relationships/image" Target="../media/image147.jpeg"/><Relationship Id="rId7" Type="http://schemas.openxmlformats.org/officeDocument/2006/relationships/image" Target="../media/image149.png"/><Relationship Id="rId12" Type="http://schemas.openxmlformats.org/officeDocument/2006/relationships/hyperlink" Target="https://www.youtube.com/c/Saft_DesignedforIndustry" TargetMode="External"/><Relationship Id="rId2" Type="http://schemas.openxmlformats.org/officeDocument/2006/relationships/image" Target="../media/image146.png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www.instagram.com/saftbatteries/" TargetMode="External"/><Relationship Id="rId11" Type="http://schemas.openxmlformats.org/officeDocument/2006/relationships/image" Target="../media/image151.png"/><Relationship Id="rId5" Type="http://schemas.openxmlformats.org/officeDocument/2006/relationships/image" Target="../media/image148.png"/><Relationship Id="rId10" Type="http://schemas.openxmlformats.org/officeDocument/2006/relationships/hyperlink" Target="https://twitter.com/Saft_batteries" TargetMode="External"/><Relationship Id="rId4" Type="http://schemas.openxmlformats.org/officeDocument/2006/relationships/hyperlink" Target="https://www.saftbatteries.com/fr/" TargetMode="External"/><Relationship Id="rId9" Type="http://schemas.openxmlformats.org/officeDocument/2006/relationships/image" Target="../media/image150.png"/><Relationship Id="rId14" Type="http://schemas.openxmlformats.org/officeDocument/2006/relationships/image" Target="../media/image153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g"/><Relationship Id="rId13" Type="http://schemas.openxmlformats.org/officeDocument/2006/relationships/image" Target="../media/image20.jpg"/><Relationship Id="rId3" Type="http://schemas.openxmlformats.org/officeDocument/2006/relationships/image" Target="../media/image5.png"/><Relationship Id="rId7" Type="http://schemas.openxmlformats.org/officeDocument/2006/relationships/image" Target="../media/image14.jpg"/><Relationship Id="rId12" Type="http://schemas.openxmlformats.org/officeDocument/2006/relationships/image" Target="../media/image19.jp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jpg"/><Relationship Id="rId11" Type="http://schemas.openxmlformats.org/officeDocument/2006/relationships/image" Target="../media/image18.jpg"/><Relationship Id="rId5" Type="http://schemas.openxmlformats.org/officeDocument/2006/relationships/image" Target="../media/image7.png"/><Relationship Id="rId10" Type="http://schemas.openxmlformats.org/officeDocument/2006/relationships/image" Target="../media/image17.jpg"/><Relationship Id="rId4" Type="http://schemas.openxmlformats.org/officeDocument/2006/relationships/image" Target="../media/image6.png"/><Relationship Id="rId9" Type="http://schemas.openxmlformats.org/officeDocument/2006/relationships/image" Target="../media/image16.jp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4.pn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5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6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png"/><Relationship Id="rId2" Type="http://schemas.openxmlformats.org/officeDocument/2006/relationships/image" Target="../media/image158.jpe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image" Target="../media/image160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62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3.png"/><Relationship Id="rId1" Type="http://schemas.openxmlformats.org/officeDocument/2006/relationships/slideLayout" Target="../slideLayouts/slideLayout1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4.jpeg"/><Relationship Id="rId1" Type="http://schemas.openxmlformats.org/officeDocument/2006/relationships/slideLayout" Target="../slideLayouts/slideLayout1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g"/><Relationship Id="rId3" Type="http://schemas.openxmlformats.org/officeDocument/2006/relationships/image" Target="../media/image5.png"/><Relationship Id="rId7" Type="http://schemas.openxmlformats.org/officeDocument/2006/relationships/image" Target="../media/image23.jp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.jpg"/><Relationship Id="rId11" Type="http://schemas.openxmlformats.org/officeDocument/2006/relationships/image" Target="../media/image27.jpg"/><Relationship Id="rId5" Type="http://schemas.openxmlformats.org/officeDocument/2006/relationships/image" Target="../media/image7.png"/><Relationship Id="rId10" Type="http://schemas.openxmlformats.org/officeDocument/2006/relationships/image" Target="../media/image26.jpg"/><Relationship Id="rId4" Type="http://schemas.openxmlformats.org/officeDocument/2006/relationships/image" Target="../media/image6.png"/><Relationship Id="rId9" Type="http://schemas.openxmlformats.org/officeDocument/2006/relationships/image" Target="../media/image25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g"/><Relationship Id="rId13" Type="http://schemas.openxmlformats.org/officeDocument/2006/relationships/image" Target="../media/image36.png"/><Relationship Id="rId3" Type="http://schemas.openxmlformats.org/officeDocument/2006/relationships/image" Target="../media/image5.png"/><Relationship Id="rId7" Type="http://schemas.openxmlformats.org/officeDocument/2006/relationships/image" Target="../media/image30.jpg"/><Relationship Id="rId12" Type="http://schemas.openxmlformats.org/officeDocument/2006/relationships/image" Target="../media/image35.jp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png"/><Relationship Id="rId11" Type="http://schemas.openxmlformats.org/officeDocument/2006/relationships/image" Target="../media/image34.jpg"/><Relationship Id="rId5" Type="http://schemas.openxmlformats.org/officeDocument/2006/relationships/image" Target="../media/image7.png"/><Relationship Id="rId10" Type="http://schemas.openxmlformats.org/officeDocument/2006/relationships/image" Target="../media/image33.jpg"/><Relationship Id="rId4" Type="http://schemas.openxmlformats.org/officeDocument/2006/relationships/image" Target="../media/image6.png"/><Relationship Id="rId9" Type="http://schemas.openxmlformats.org/officeDocument/2006/relationships/image" Target="../media/image32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g"/><Relationship Id="rId3" Type="http://schemas.openxmlformats.org/officeDocument/2006/relationships/image" Target="../media/image5.png"/><Relationship Id="rId7" Type="http://schemas.openxmlformats.org/officeDocument/2006/relationships/image" Target="../media/image37.jp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26" Type="http://schemas.openxmlformats.org/officeDocument/2006/relationships/image" Target="../media/image58.png"/><Relationship Id="rId21" Type="http://schemas.openxmlformats.org/officeDocument/2006/relationships/image" Target="../media/image53.png"/><Relationship Id="rId34" Type="http://schemas.openxmlformats.org/officeDocument/2006/relationships/image" Target="../media/image66.png"/><Relationship Id="rId42" Type="http://schemas.openxmlformats.org/officeDocument/2006/relationships/image" Target="../media/image74.png"/><Relationship Id="rId47" Type="http://schemas.openxmlformats.org/officeDocument/2006/relationships/image" Target="../media/image79.png"/><Relationship Id="rId50" Type="http://schemas.openxmlformats.org/officeDocument/2006/relationships/image" Target="../media/image82.png"/><Relationship Id="rId55" Type="http://schemas.openxmlformats.org/officeDocument/2006/relationships/image" Target="../media/image87.png"/><Relationship Id="rId63" Type="http://schemas.openxmlformats.org/officeDocument/2006/relationships/image" Target="../media/image95.png"/><Relationship Id="rId68" Type="http://schemas.openxmlformats.org/officeDocument/2006/relationships/image" Target="../media/image100.png"/><Relationship Id="rId76" Type="http://schemas.openxmlformats.org/officeDocument/2006/relationships/image" Target="../media/image108.png"/><Relationship Id="rId84" Type="http://schemas.openxmlformats.org/officeDocument/2006/relationships/image" Target="../media/image116.png"/><Relationship Id="rId89" Type="http://schemas.openxmlformats.org/officeDocument/2006/relationships/image" Target="../media/image121.png"/><Relationship Id="rId97" Type="http://schemas.openxmlformats.org/officeDocument/2006/relationships/image" Target="../media/image129.png"/><Relationship Id="rId7" Type="http://schemas.openxmlformats.org/officeDocument/2006/relationships/image" Target="../media/image39.png"/><Relationship Id="rId71" Type="http://schemas.openxmlformats.org/officeDocument/2006/relationships/image" Target="../media/image103.png"/><Relationship Id="rId92" Type="http://schemas.openxmlformats.org/officeDocument/2006/relationships/image" Target="../media/image124.png"/><Relationship Id="rId2" Type="http://schemas.openxmlformats.org/officeDocument/2006/relationships/image" Target="../media/image4.png"/><Relationship Id="rId16" Type="http://schemas.openxmlformats.org/officeDocument/2006/relationships/image" Target="../media/image48.png"/><Relationship Id="rId29" Type="http://schemas.openxmlformats.org/officeDocument/2006/relationships/image" Target="../media/image61.png"/><Relationship Id="rId11" Type="http://schemas.openxmlformats.org/officeDocument/2006/relationships/image" Target="../media/image43.jpg"/><Relationship Id="rId24" Type="http://schemas.openxmlformats.org/officeDocument/2006/relationships/image" Target="../media/image56.png"/><Relationship Id="rId32" Type="http://schemas.openxmlformats.org/officeDocument/2006/relationships/image" Target="../media/image64.png"/><Relationship Id="rId37" Type="http://schemas.openxmlformats.org/officeDocument/2006/relationships/image" Target="../media/image69.png"/><Relationship Id="rId40" Type="http://schemas.openxmlformats.org/officeDocument/2006/relationships/image" Target="../media/image72.png"/><Relationship Id="rId45" Type="http://schemas.openxmlformats.org/officeDocument/2006/relationships/image" Target="../media/image77.png"/><Relationship Id="rId53" Type="http://schemas.openxmlformats.org/officeDocument/2006/relationships/image" Target="../media/image85.png"/><Relationship Id="rId58" Type="http://schemas.openxmlformats.org/officeDocument/2006/relationships/image" Target="../media/image90.png"/><Relationship Id="rId66" Type="http://schemas.openxmlformats.org/officeDocument/2006/relationships/image" Target="../media/image98.png"/><Relationship Id="rId74" Type="http://schemas.openxmlformats.org/officeDocument/2006/relationships/image" Target="../media/image106.png"/><Relationship Id="rId79" Type="http://schemas.openxmlformats.org/officeDocument/2006/relationships/image" Target="../media/image111.png"/><Relationship Id="rId87" Type="http://schemas.openxmlformats.org/officeDocument/2006/relationships/image" Target="../media/image119.png"/><Relationship Id="rId102" Type="http://schemas.openxmlformats.org/officeDocument/2006/relationships/image" Target="../media/image134.png"/><Relationship Id="rId5" Type="http://schemas.openxmlformats.org/officeDocument/2006/relationships/image" Target="../media/image7.png"/><Relationship Id="rId61" Type="http://schemas.openxmlformats.org/officeDocument/2006/relationships/image" Target="../media/image93.png"/><Relationship Id="rId82" Type="http://schemas.openxmlformats.org/officeDocument/2006/relationships/image" Target="../media/image114.png"/><Relationship Id="rId90" Type="http://schemas.openxmlformats.org/officeDocument/2006/relationships/image" Target="../media/image122.png"/><Relationship Id="rId95" Type="http://schemas.openxmlformats.org/officeDocument/2006/relationships/image" Target="../media/image127.png"/><Relationship Id="rId19" Type="http://schemas.openxmlformats.org/officeDocument/2006/relationships/image" Target="../media/image51.png"/><Relationship Id="rId14" Type="http://schemas.openxmlformats.org/officeDocument/2006/relationships/image" Target="../media/image46.png"/><Relationship Id="rId22" Type="http://schemas.openxmlformats.org/officeDocument/2006/relationships/image" Target="../media/image54.png"/><Relationship Id="rId27" Type="http://schemas.openxmlformats.org/officeDocument/2006/relationships/image" Target="../media/image59.png"/><Relationship Id="rId30" Type="http://schemas.openxmlformats.org/officeDocument/2006/relationships/image" Target="../media/image62.png"/><Relationship Id="rId35" Type="http://schemas.openxmlformats.org/officeDocument/2006/relationships/image" Target="../media/image67.png"/><Relationship Id="rId43" Type="http://schemas.openxmlformats.org/officeDocument/2006/relationships/image" Target="../media/image75.png"/><Relationship Id="rId48" Type="http://schemas.openxmlformats.org/officeDocument/2006/relationships/image" Target="../media/image80.png"/><Relationship Id="rId56" Type="http://schemas.openxmlformats.org/officeDocument/2006/relationships/image" Target="../media/image88.png"/><Relationship Id="rId64" Type="http://schemas.openxmlformats.org/officeDocument/2006/relationships/image" Target="../media/image96.png"/><Relationship Id="rId69" Type="http://schemas.openxmlformats.org/officeDocument/2006/relationships/image" Target="../media/image101.png"/><Relationship Id="rId77" Type="http://schemas.openxmlformats.org/officeDocument/2006/relationships/image" Target="../media/image109.png"/><Relationship Id="rId100" Type="http://schemas.openxmlformats.org/officeDocument/2006/relationships/image" Target="../media/image132.png"/><Relationship Id="rId8" Type="http://schemas.openxmlformats.org/officeDocument/2006/relationships/image" Target="../media/image40.png"/><Relationship Id="rId51" Type="http://schemas.openxmlformats.org/officeDocument/2006/relationships/image" Target="../media/image83.png"/><Relationship Id="rId72" Type="http://schemas.openxmlformats.org/officeDocument/2006/relationships/image" Target="../media/image104.png"/><Relationship Id="rId80" Type="http://schemas.openxmlformats.org/officeDocument/2006/relationships/image" Target="../media/image112.png"/><Relationship Id="rId85" Type="http://schemas.openxmlformats.org/officeDocument/2006/relationships/image" Target="../media/image117.png"/><Relationship Id="rId93" Type="http://schemas.openxmlformats.org/officeDocument/2006/relationships/image" Target="../media/image125.png"/><Relationship Id="rId98" Type="http://schemas.openxmlformats.org/officeDocument/2006/relationships/image" Target="../media/image130.png"/><Relationship Id="rId3" Type="http://schemas.openxmlformats.org/officeDocument/2006/relationships/image" Target="../media/image5.png"/><Relationship Id="rId12" Type="http://schemas.openxmlformats.org/officeDocument/2006/relationships/image" Target="../media/image44.png"/><Relationship Id="rId17" Type="http://schemas.openxmlformats.org/officeDocument/2006/relationships/image" Target="../media/image49.png"/><Relationship Id="rId25" Type="http://schemas.openxmlformats.org/officeDocument/2006/relationships/image" Target="../media/image57.png"/><Relationship Id="rId33" Type="http://schemas.openxmlformats.org/officeDocument/2006/relationships/image" Target="../media/image65.png"/><Relationship Id="rId38" Type="http://schemas.openxmlformats.org/officeDocument/2006/relationships/image" Target="../media/image70.png"/><Relationship Id="rId46" Type="http://schemas.openxmlformats.org/officeDocument/2006/relationships/image" Target="../media/image78.png"/><Relationship Id="rId59" Type="http://schemas.openxmlformats.org/officeDocument/2006/relationships/image" Target="../media/image91.png"/><Relationship Id="rId67" Type="http://schemas.openxmlformats.org/officeDocument/2006/relationships/image" Target="../media/image99.png"/><Relationship Id="rId20" Type="http://schemas.openxmlformats.org/officeDocument/2006/relationships/image" Target="../media/image52.png"/><Relationship Id="rId41" Type="http://schemas.openxmlformats.org/officeDocument/2006/relationships/image" Target="../media/image73.png"/><Relationship Id="rId54" Type="http://schemas.openxmlformats.org/officeDocument/2006/relationships/image" Target="../media/image86.png"/><Relationship Id="rId62" Type="http://schemas.openxmlformats.org/officeDocument/2006/relationships/image" Target="../media/image94.png"/><Relationship Id="rId70" Type="http://schemas.openxmlformats.org/officeDocument/2006/relationships/image" Target="../media/image102.png"/><Relationship Id="rId75" Type="http://schemas.openxmlformats.org/officeDocument/2006/relationships/image" Target="../media/image107.png"/><Relationship Id="rId83" Type="http://schemas.openxmlformats.org/officeDocument/2006/relationships/image" Target="../media/image115.png"/><Relationship Id="rId88" Type="http://schemas.openxmlformats.org/officeDocument/2006/relationships/image" Target="../media/image120.png"/><Relationship Id="rId91" Type="http://schemas.openxmlformats.org/officeDocument/2006/relationships/image" Target="../media/image123.png"/><Relationship Id="rId96" Type="http://schemas.openxmlformats.org/officeDocument/2006/relationships/image" Target="../media/image12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15" Type="http://schemas.openxmlformats.org/officeDocument/2006/relationships/image" Target="../media/image47.png"/><Relationship Id="rId23" Type="http://schemas.openxmlformats.org/officeDocument/2006/relationships/image" Target="../media/image55.png"/><Relationship Id="rId28" Type="http://schemas.openxmlformats.org/officeDocument/2006/relationships/image" Target="../media/image60.png"/><Relationship Id="rId36" Type="http://schemas.openxmlformats.org/officeDocument/2006/relationships/image" Target="../media/image68.png"/><Relationship Id="rId49" Type="http://schemas.openxmlformats.org/officeDocument/2006/relationships/image" Target="../media/image81.png"/><Relationship Id="rId57" Type="http://schemas.openxmlformats.org/officeDocument/2006/relationships/image" Target="../media/image89.png"/><Relationship Id="rId10" Type="http://schemas.openxmlformats.org/officeDocument/2006/relationships/image" Target="../media/image42.png"/><Relationship Id="rId31" Type="http://schemas.openxmlformats.org/officeDocument/2006/relationships/image" Target="../media/image63.png"/><Relationship Id="rId44" Type="http://schemas.openxmlformats.org/officeDocument/2006/relationships/image" Target="../media/image76.png"/><Relationship Id="rId52" Type="http://schemas.openxmlformats.org/officeDocument/2006/relationships/image" Target="../media/image84.png"/><Relationship Id="rId60" Type="http://schemas.openxmlformats.org/officeDocument/2006/relationships/image" Target="../media/image92.png"/><Relationship Id="rId65" Type="http://schemas.openxmlformats.org/officeDocument/2006/relationships/image" Target="../media/image97.png"/><Relationship Id="rId73" Type="http://schemas.openxmlformats.org/officeDocument/2006/relationships/image" Target="../media/image105.png"/><Relationship Id="rId78" Type="http://schemas.openxmlformats.org/officeDocument/2006/relationships/image" Target="../media/image110.png"/><Relationship Id="rId81" Type="http://schemas.openxmlformats.org/officeDocument/2006/relationships/image" Target="../media/image113.png"/><Relationship Id="rId86" Type="http://schemas.openxmlformats.org/officeDocument/2006/relationships/image" Target="../media/image118.png"/><Relationship Id="rId94" Type="http://schemas.openxmlformats.org/officeDocument/2006/relationships/image" Target="../media/image126.png"/><Relationship Id="rId99" Type="http://schemas.openxmlformats.org/officeDocument/2006/relationships/image" Target="../media/image131.png"/><Relationship Id="rId101" Type="http://schemas.openxmlformats.org/officeDocument/2006/relationships/image" Target="../media/image133.png"/><Relationship Id="rId4" Type="http://schemas.openxmlformats.org/officeDocument/2006/relationships/image" Target="../media/image6.png"/><Relationship Id="rId9" Type="http://schemas.openxmlformats.org/officeDocument/2006/relationships/image" Target="../media/image41.png"/><Relationship Id="rId13" Type="http://schemas.openxmlformats.org/officeDocument/2006/relationships/image" Target="../media/image45.png"/><Relationship Id="rId18" Type="http://schemas.openxmlformats.org/officeDocument/2006/relationships/image" Target="../media/image50.png"/><Relationship Id="rId39" Type="http://schemas.openxmlformats.org/officeDocument/2006/relationships/image" Target="../media/image7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061883" y="403412"/>
            <a:ext cx="8068235" cy="605117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2061883" y="6068657"/>
            <a:ext cx="8068235" cy="386043"/>
          </a:xfrm>
          <a:custGeom>
            <a:avLst/>
            <a:gdLst/>
            <a:ahLst/>
            <a:cxnLst/>
            <a:rect l="l" t="t" r="r" b="b"/>
            <a:pathLst>
              <a:path w="9144000" h="437515">
                <a:moveTo>
                  <a:pt x="0" y="0"/>
                </a:moveTo>
                <a:lnTo>
                  <a:pt x="9144000" y="0"/>
                </a:lnTo>
                <a:lnTo>
                  <a:pt x="9144000" y="437388"/>
                </a:lnTo>
                <a:lnTo>
                  <a:pt x="0" y="437388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3550471" y="2463501"/>
            <a:ext cx="6579646" cy="223086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3555850" y="2922046"/>
            <a:ext cx="1205193" cy="1205193"/>
          </a:xfrm>
          <a:custGeom>
            <a:avLst/>
            <a:gdLst/>
            <a:ahLst/>
            <a:cxnLst/>
            <a:rect l="l" t="t" r="r" b="b"/>
            <a:pathLst>
              <a:path w="1365885" h="1365885">
                <a:moveTo>
                  <a:pt x="682752" y="1365504"/>
                </a:moveTo>
                <a:lnTo>
                  <a:pt x="626364" y="1362456"/>
                </a:lnTo>
                <a:lnTo>
                  <a:pt x="571500" y="1356360"/>
                </a:lnTo>
                <a:lnTo>
                  <a:pt x="518160" y="1345692"/>
                </a:lnTo>
                <a:lnTo>
                  <a:pt x="466344" y="1330452"/>
                </a:lnTo>
                <a:lnTo>
                  <a:pt x="416052" y="1310640"/>
                </a:lnTo>
                <a:lnTo>
                  <a:pt x="368808" y="1289304"/>
                </a:lnTo>
                <a:lnTo>
                  <a:pt x="323088" y="1261872"/>
                </a:lnTo>
                <a:lnTo>
                  <a:pt x="278892" y="1232916"/>
                </a:lnTo>
                <a:lnTo>
                  <a:pt x="237744" y="1200912"/>
                </a:lnTo>
                <a:lnTo>
                  <a:pt x="199644" y="1164336"/>
                </a:lnTo>
                <a:lnTo>
                  <a:pt x="163068" y="1126236"/>
                </a:lnTo>
                <a:lnTo>
                  <a:pt x="131064" y="1085088"/>
                </a:lnTo>
                <a:lnTo>
                  <a:pt x="102108" y="1040892"/>
                </a:lnTo>
                <a:lnTo>
                  <a:pt x="76200" y="995172"/>
                </a:lnTo>
                <a:lnTo>
                  <a:pt x="53340" y="947928"/>
                </a:lnTo>
                <a:lnTo>
                  <a:pt x="33528" y="897636"/>
                </a:lnTo>
                <a:lnTo>
                  <a:pt x="19812" y="845820"/>
                </a:lnTo>
                <a:lnTo>
                  <a:pt x="9144" y="792480"/>
                </a:lnTo>
                <a:lnTo>
                  <a:pt x="1524" y="737616"/>
                </a:lnTo>
                <a:lnTo>
                  <a:pt x="0" y="681228"/>
                </a:lnTo>
                <a:lnTo>
                  <a:pt x="1524" y="626364"/>
                </a:lnTo>
                <a:lnTo>
                  <a:pt x="9144" y="571500"/>
                </a:lnTo>
                <a:lnTo>
                  <a:pt x="19812" y="518160"/>
                </a:lnTo>
                <a:lnTo>
                  <a:pt x="35052" y="466344"/>
                </a:lnTo>
                <a:lnTo>
                  <a:pt x="53340" y="416052"/>
                </a:lnTo>
                <a:lnTo>
                  <a:pt x="76200" y="367284"/>
                </a:lnTo>
                <a:lnTo>
                  <a:pt x="102108" y="321564"/>
                </a:lnTo>
                <a:lnTo>
                  <a:pt x="131064" y="278892"/>
                </a:lnTo>
                <a:lnTo>
                  <a:pt x="164592" y="237744"/>
                </a:lnTo>
                <a:lnTo>
                  <a:pt x="199644" y="199644"/>
                </a:lnTo>
                <a:lnTo>
                  <a:pt x="237744" y="163068"/>
                </a:lnTo>
                <a:lnTo>
                  <a:pt x="278892" y="131064"/>
                </a:lnTo>
                <a:lnTo>
                  <a:pt x="323088" y="102108"/>
                </a:lnTo>
                <a:lnTo>
                  <a:pt x="368808" y="74676"/>
                </a:lnTo>
                <a:lnTo>
                  <a:pt x="417576" y="53340"/>
                </a:lnTo>
                <a:lnTo>
                  <a:pt x="466344" y="33528"/>
                </a:lnTo>
                <a:lnTo>
                  <a:pt x="518160" y="18288"/>
                </a:lnTo>
                <a:lnTo>
                  <a:pt x="571500" y="7620"/>
                </a:lnTo>
                <a:lnTo>
                  <a:pt x="626364" y="1524"/>
                </a:lnTo>
                <a:lnTo>
                  <a:pt x="682752" y="0"/>
                </a:lnTo>
                <a:lnTo>
                  <a:pt x="739140" y="1524"/>
                </a:lnTo>
                <a:lnTo>
                  <a:pt x="794004" y="7620"/>
                </a:lnTo>
                <a:lnTo>
                  <a:pt x="847344" y="19812"/>
                </a:lnTo>
                <a:lnTo>
                  <a:pt x="682752" y="19812"/>
                </a:lnTo>
                <a:lnTo>
                  <a:pt x="627888" y="22860"/>
                </a:lnTo>
                <a:lnTo>
                  <a:pt x="574548" y="28956"/>
                </a:lnTo>
                <a:lnTo>
                  <a:pt x="522732" y="39624"/>
                </a:lnTo>
                <a:lnTo>
                  <a:pt x="472440" y="53340"/>
                </a:lnTo>
                <a:lnTo>
                  <a:pt x="423672" y="71628"/>
                </a:lnTo>
                <a:lnTo>
                  <a:pt x="377952" y="94488"/>
                </a:lnTo>
                <a:lnTo>
                  <a:pt x="333756" y="118872"/>
                </a:lnTo>
                <a:lnTo>
                  <a:pt x="291084" y="147828"/>
                </a:lnTo>
                <a:lnTo>
                  <a:pt x="251460" y="179832"/>
                </a:lnTo>
                <a:lnTo>
                  <a:pt x="213360" y="214884"/>
                </a:lnTo>
                <a:lnTo>
                  <a:pt x="179832" y="251460"/>
                </a:lnTo>
                <a:lnTo>
                  <a:pt x="147828" y="291084"/>
                </a:lnTo>
                <a:lnTo>
                  <a:pt x="118872" y="333756"/>
                </a:lnTo>
                <a:lnTo>
                  <a:pt x="94488" y="377952"/>
                </a:lnTo>
                <a:lnTo>
                  <a:pt x="71628" y="425196"/>
                </a:lnTo>
                <a:lnTo>
                  <a:pt x="53340" y="473964"/>
                </a:lnTo>
                <a:lnTo>
                  <a:pt x="39624" y="522732"/>
                </a:lnTo>
                <a:lnTo>
                  <a:pt x="28956" y="574548"/>
                </a:lnTo>
                <a:lnTo>
                  <a:pt x="22860" y="627888"/>
                </a:lnTo>
                <a:lnTo>
                  <a:pt x="19812" y="682752"/>
                </a:lnTo>
                <a:lnTo>
                  <a:pt x="22860" y="737616"/>
                </a:lnTo>
                <a:lnTo>
                  <a:pt x="28956" y="789432"/>
                </a:lnTo>
                <a:lnTo>
                  <a:pt x="39624" y="841248"/>
                </a:lnTo>
                <a:lnTo>
                  <a:pt x="54864" y="891540"/>
                </a:lnTo>
                <a:lnTo>
                  <a:pt x="73152" y="940308"/>
                </a:lnTo>
                <a:lnTo>
                  <a:pt x="94488" y="986028"/>
                </a:lnTo>
                <a:lnTo>
                  <a:pt x="120396" y="1031748"/>
                </a:lnTo>
                <a:lnTo>
                  <a:pt x="147828" y="1072896"/>
                </a:lnTo>
                <a:lnTo>
                  <a:pt x="179832" y="1114044"/>
                </a:lnTo>
                <a:lnTo>
                  <a:pt x="214884" y="1150620"/>
                </a:lnTo>
                <a:lnTo>
                  <a:pt x="251460" y="1185672"/>
                </a:lnTo>
                <a:lnTo>
                  <a:pt x="291084" y="1216152"/>
                </a:lnTo>
                <a:lnTo>
                  <a:pt x="333756" y="1245108"/>
                </a:lnTo>
                <a:lnTo>
                  <a:pt x="377952" y="1271016"/>
                </a:lnTo>
                <a:lnTo>
                  <a:pt x="425196" y="1292352"/>
                </a:lnTo>
                <a:lnTo>
                  <a:pt x="473964" y="1310640"/>
                </a:lnTo>
                <a:lnTo>
                  <a:pt x="524256" y="1324356"/>
                </a:lnTo>
                <a:lnTo>
                  <a:pt x="576072" y="1335024"/>
                </a:lnTo>
                <a:lnTo>
                  <a:pt x="627888" y="1342644"/>
                </a:lnTo>
                <a:lnTo>
                  <a:pt x="682752" y="1344168"/>
                </a:lnTo>
                <a:lnTo>
                  <a:pt x="851001" y="1344168"/>
                </a:lnTo>
                <a:lnTo>
                  <a:pt x="845820" y="1345692"/>
                </a:lnTo>
                <a:lnTo>
                  <a:pt x="792480" y="1356360"/>
                </a:lnTo>
                <a:lnTo>
                  <a:pt x="737616" y="1362456"/>
                </a:lnTo>
                <a:lnTo>
                  <a:pt x="682752" y="1365504"/>
                </a:lnTo>
                <a:close/>
              </a:path>
              <a:path w="1365885" h="1365885">
                <a:moveTo>
                  <a:pt x="851001" y="1344168"/>
                </a:moveTo>
                <a:lnTo>
                  <a:pt x="682752" y="1344168"/>
                </a:lnTo>
                <a:lnTo>
                  <a:pt x="737616" y="1342644"/>
                </a:lnTo>
                <a:lnTo>
                  <a:pt x="790956" y="1335024"/>
                </a:lnTo>
                <a:lnTo>
                  <a:pt x="841248" y="1324356"/>
                </a:lnTo>
                <a:lnTo>
                  <a:pt x="891540" y="1310640"/>
                </a:lnTo>
                <a:lnTo>
                  <a:pt x="940308" y="1292352"/>
                </a:lnTo>
                <a:lnTo>
                  <a:pt x="987552" y="1269492"/>
                </a:lnTo>
                <a:lnTo>
                  <a:pt x="1031748" y="1245108"/>
                </a:lnTo>
                <a:lnTo>
                  <a:pt x="1074420" y="1216152"/>
                </a:lnTo>
                <a:lnTo>
                  <a:pt x="1114044" y="1184148"/>
                </a:lnTo>
                <a:lnTo>
                  <a:pt x="1150620" y="1150620"/>
                </a:lnTo>
                <a:lnTo>
                  <a:pt x="1185672" y="1112520"/>
                </a:lnTo>
                <a:lnTo>
                  <a:pt x="1217676" y="1072896"/>
                </a:lnTo>
                <a:lnTo>
                  <a:pt x="1245108" y="1030224"/>
                </a:lnTo>
                <a:lnTo>
                  <a:pt x="1271016" y="986028"/>
                </a:lnTo>
                <a:lnTo>
                  <a:pt x="1292352" y="938784"/>
                </a:lnTo>
                <a:lnTo>
                  <a:pt x="1310640" y="891540"/>
                </a:lnTo>
                <a:lnTo>
                  <a:pt x="1325880" y="841248"/>
                </a:lnTo>
                <a:lnTo>
                  <a:pt x="1336548" y="789432"/>
                </a:lnTo>
                <a:lnTo>
                  <a:pt x="1342644" y="736092"/>
                </a:lnTo>
                <a:lnTo>
                  <a:pt x="1344168" y="681228"/>
                </a:lnTo>
                <a:lnTo>
                  <a:pt x="1342644" y="627888"/>
                </a:lnTo>
                <a:lnTo>
                  <a:pt x="1336548" y="574548"/>
                </a:lnTo>
                <a:lnTo>
                  <a:pt x="1325880" y="522732"/>
                </a:lnTo>
                <a:lnTo>
                  <a:pt x="1310640" y="472440"/>
                </a:lnTo>
                <a:lnTo>
                  <a:pt x="1292352" y="423672"/>
                </a:lnTo>
                <a:lnTo>
                  <a:pt x="1271016" y="377952"/>
                </a:lnTo>
                <a:lnTo>
                  <a:pt x="1245108" y="333756"/>
                </a:lnTo>
                <a:lnTo>
                  <a:pt x="1216152" y="291084"/>
                </a:lnTo>
                <a:lnTo>
                  <a:pt x="1184148" y="251460"/>
                </a:lnTo>
                <a:lnTo>
                  <a:pt x="1150620" y="213360"/>
                </a:lnTo>
                <a:lnTo>
                  <a:pt x="1112520" y="179832"/>
                </a:lnTo>
                <a:lnTo>
                  <a:pt x="1072896" y="147828"/>
                </a:lnTo>
                <a:lnTo>
                  <a:pt x="1030224" y="118872"/>
                </a:lnTo>
                <a:lnTo>
                  <a:pt x="986028" y="94488"/>
                </a:lnTo>
                <a:lnTo>
                  <a:pt x="940308" y="71628"/>
                </a:lnTo>
                <a:lnTo>
                  <a:pt x="891540" y="53340"/>
                </a:lnTo>
                <a:lnTo>
                  <a:pt x="841248" y="39624"/>
                </a:lnTo>
                <a:lnTo>
                  <a:pt x="789432" y="28956"/>
                </a:lnTo>
                <a:lnTo>
                  <a:pt x="736092" y="22860"/>
                </a:lnTo>
                <a:lnTo>
                  <a:pt x="682752" y="19812"/>
                </a:lnTo>
                <a:lnTo>
                  <a:pt x="847344" y="19812"/>
                </a:lnTo>
                <a:lnTo>
                  <a:pt x="899160" y="33528"/>
                </a:lnTo>
                <a:lnTo>
                  <a:pt x="947928" y="53340"/>
                </a:lnTo>
                <a:lnTo>
                  <a:pt x="996696" y="76200"/>
                </a:lnTo>
                <a:lnTo>
                  <a:pt x="1042416" y="102108"/>
                </a:lnTo>
                <a:lnTo>
                  <a:pt x="1086612" y="131064"/>
                </a:lnTo>
                <a:lnTo>
                  <a:pt x="1127760" y="164592"/>
                </a:lnTo>
                <a:lnTo>
                  <a:pt x="1165860" y="199644"/>
                </a:lnTo>
                <a:lnTo>
                  <a:pt x="1200912" y="237744"/>
                </a:lnTo>
                <a:lnTo>
                  <a:pt x="1234440" y="278892"/>
                </a:lnTo>
                <a:lnTo>
                  <a:pt x="1263396" y="323088"/>
                </a:lnTo>
                <a:lnTo>
                  <a:pt x="1289304" y="368808"/>
                </a:lnTo>
                <a:lnTo>
                  <a:pt x="1312164" y="416052"/>
                </a:lnTo>
                <a:lnTo>
                  <a:pt x="1330452" y="466344"/>
                </a:lnTo>
                <a:lnTo>
                  <a:pt x="1345692" y="518160"/>
                </a:lnTo>
                <a:lnTo>
                  <a:pt x="1356360" y="571500"/>
                </a:lnTo>
                <a:lnTo>
                  <a:pt x="1362456" y="626364"/>
                </a:lnTo>
                <a:lnTo>
                  <a:pt x="1365504" y="682752"/>
                </a:lnTo>
                <a:lnTo>
                  <a:pt x="1362456" y="739140"/>
                </a:lnTo>
                <a:lnTo>
                  <a:pt x="1356360" y="794004"/>
                </a:lnTo>
                <a:lnTo>
                  <a:pt x="1345692" y="847344"/>
                </a:lnTo>
                <a:lnTo>
                  <a:pt x="1330452" y="899160"/>
                </a:lnTo>
                <a:lnTo>
                  <a:pt x="1312164" y="947928"/>
                </a:lnTo>
                <a:lnTo>
                  <a:pt x="1289304" y="996696"/>
                </a:lnTo>
                <a:lnTo>
                  <a:pt x="1263396" y="1042416"/>
                </a:lnTo>
                <a:lnTo>
                  <a:pt x="1232916" y="1085088"/>
                </a:lnTo>
                <a:lnTo>
                  <a:pt x="1200912" y="1126236"/>
                </a:lnTo>
                <a:lnTo>
                  <a:pt x="1164336" y="1165860"/>
                </a:lnTo>
                <a:lnTo>
                  <a:pt x="1126236" y="1200912"/>
                </a:lnTo>
                <a:lnTo>
                  <a:pt x="1085088" y="1232916"/>
                </a:lnTo>
                <a:lnTo>
                  <a:pt x="1042416" y="1263396"/>
                </a:lnTo>
                <a:lnTo>
                  <a:pt x="995172" y="1289304"/>
                </a:lnTo>
                <a:lnTo>
                  <a:pt x="947928" y="1312164"/>
                </a:lnTo>
                <a:lnTo>
                  <a:pt x="897636" y="1330452"/>
                </a:lnTo>
                <a:lnTo>
                  <a:pt x="851001" y="134416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2538581" y="6196405"/>
            <a:ext cx="0" cy="118782"/>
          </a:xfrm>
          <a:custGeom>
            <a:avLst/>
            <a:gdLst/>
            <a:ahLst/>
            <a:cxnLst/>
            <a:rect l="l" t="t" r="r" b="b"/>
            <a:pathLst>
              <a:path h="134620">
                <a:moveTo>
                  <a:pt x="0" y="0"/>
                </a:moveTo>
                <a:lnTo>
                  <a:pt x="0" y="134112"/>
                </a:lnTo>
              </a:path>
            </a:pathLst>
          </a:custGeom>
          <a:ln w="10668">
            <a:solidFill>
              <a:srgbClr val="595959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9570720" y="6154718"/>
            <a:ext cx="145228" cy="9412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9793941" y="6173545"/>
            <a:ext cx="48745" cy="75640"/>
          </a:xfrm>
          <a:custGeom>
            <a:avLst/>
            <a:gdLst/>
            <a:ahLst/>
            <a:cxnLst/>
            <a:rect l="l" t="t" r="r" b="b"/>
            <a:pathLst>
              <a:path w="55245" h="85725">
                <a:moveTo>
                  <a:pt x="0" y="0"/>
                </a:moveTo>
                <a:lnTo>
                  <a:pt x="54864" y="0"/>
                </a:lnTo>
                <a:lnTo>
                  <a:pt x="54864" y="85344"/>
                </a:lnTo>
                <a:lnTo>
                  <a:pt x="0" y="85344"/>
                </a:lnTo>
                <a:lnTo>
                  <a:pt x="0" y="0"/>
                </a:lnTo>
                <a:close/>
              </a:path>
            </a:pathLst>
          </a:custGeom>
          <a:solidFill>
            <a:srgbClr val="C11F2D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9740153" y="6164804"/>
            <a:ext cx="156322" cy="0"/>
          </a:xfrm>
          <a:custGeom>
            <a:avLst/>
            <a:gdLst/>
            <a:ahLst/>
            <a:cxnLst/>
            <a:rect l="l" t="t" r="r" b="b"/>
            <a:pathLst>
              <a:path w="177165">
                <a:moveTo>
                  <a:pt x="0" y="0"/>
                </a:moveTo>
                <a:lnTo>
                  <a:pt x="176784" y="0"/>
                </a:lnTo>
              </a:path>
            </a:pathLst>
          </a:custGeom>
          <a:ln w="22860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9194201" y="6154718"/>
            <a:ext cx="151952" cy="9412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9373048" y="6154718"/>
            <a:ext cx="160020" cy="9412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9194202" y="6312722"/>
            <a:ext cx="705971" cy="0"/>
          </a:xfrm>
          <a:custGeom>
            <a:avLst/>
            <a:gdLst/>
            <a:ahLst/>
            <a:cxnLst/>
            <a:rect l="l" t="t" r="r" b="b"/>
            <a:pathLst>
              <a:path w="800100">
                <a:moveTo>
                  <a:pt x="0" y="0"/>
                </a:moveTo>
                <a:lnTo>
                  <a:pt x="800100" y="0"/>
                </a:lnTo>
              </a:path>
            </a:pathLst>
          </a:custGeom>
          <a:ln w="53340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029655" y="6174429"/>
            <a:ext cx="2055719" cy="133528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defTabSz="806867">
              <a:spcBef>
                <a:spcPts val="88"/>
              </a:spcBef>
            </a:pPr>
            <a:r>
              <a:rPr sz="794" spc="40" dirty="0">
                <a:solidFill>
                  <a:prstClr val="black"/>
                </a:solidFill>
                <a:latin typeface="Times New Roman"/>
                <a:cs typeface="Times New Roman"/>
              </a:rPr>
              <a:t>Saft </a:t>
            </a:r>
            <a:r>
              <a:rPr sz="794" spc="62" dirty="0">
                <a:solidFill>
                  <a:prstClr val="black"/>
                </a:solidFill>
                <a:latin typeface="Times New Roman"/>
                <a:cs typeface="Times New Roman"/>
              </a:rPr>
              <a:t>proprietary </a:t>
            </a:r>
            <a:r>
              <a:rPr sz="794" spc="53" dirty="0">
                <a:solidFill>
                  <a:prstClr val="black"/>
                </a:solidFill>
                <a:latin typeface="Times New Roman"/>
                <a:cs typeface="Times New Roman"/>
              </a:rPr>
              <a:t>information </a:t>
            </a:r>
            <a:r>
              <a:rPr sz="794" dirty="0">
                <a:solidFill>
                  <a:prstClr val="black"/>
                </a:solidFill>
                <a:latin typeface="Times New Roman"/>
                <a:cs typeface="Times New Roman"/>
              </a:rPr>
              <a:t>–</a:t>
            </a:r>
            <a:r>
              <a:rPr sz="794" spc="-101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794" spc="62" dirty="0">
                <a:solidFill>
                  <a:prstClr val="black"/>
                </a:solidFill>
                <a:latin typeface="Times New Roman"/>
                <a:cs typeface="Times New Roman"/>
              </a:rPr>
              <a:t>Confidential</a:t>
            </a:r>
            <a:endParaRPr sz="794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title"/>
          </p:nvPr>
        </p:nvSpPr>
        <p:spPr>
          <a:xfrm>
            <a:off x="4963289" y="2913521"/>
            <a:ext cx="4231901" cy="255678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>
              <a:spcBef>
                <a:spcPts val="88"/>
              </a:spcBef>
            </a:pPr>
            <a:r>
              <a:rPr sz="1588" spc="-159" dirty="0">
                <a:solidFill>
                  <a:srgbClr val="FFFFFF"/>
                </a:solidFill>
              </a:rPr>
              <a:t>LES </a:t>
            </a:r>
            <a:r>
              <a:rPr sz="1588" spc="-71" dirty="0">
                <a:solidFill>
                  <a:srgbClr val="FFFFFF"/>
                </a:solidFill>
              </a:rPr>
              <a:t>ACCUMULATEURS </a:t>
            </a:r>
            <a:r>
              <a:rPr sz="1588" spc="-62" dirty="0">
                <a:solidFill>
                  <a:srgbClr val="FFFFFF"/>
                </a:solidFill>
              </a:rPr>
              <a:t>LITHIUM-ION </a:t>
            </a:r>
            <a:r>
              <a:rPr sz="1588" spc="4" dirty="0">
                <a:solidFill>
                  <a:srgbClr val="FFFFFF"/>
                </a:solidFill>
              </a:rPr>
              <a:t>(LI-ION)</a:t>
            </a:r>
            <a:r>
              <a:rPr sz="1588" spc="-163" dirty="0">
                <a:solidFill>
                  <a:srgbClr val="FFFFFF"/>
                </a:solidFill>
              </a:rPr>
              <a:t> </a:t>
            </a:r>
            <a:r>
              <a:rPr sz="1588" dirty="0">
                <a:solidFill>
                  <a:srgbClr val="FFFFFF"/>
                </a:solidFill>
              </a:rPr>
              <a:t>:</a:t>
            </a:r>
            <a:endParaRPr sz="1588"/>
          </a:p>
        </p:txBody>
      </p:sp>
      <p:sp>
        <p:nvSpPr>
          <p:cNvPr id="15" name="object 15"/>
          <p:cNvSpPr txBox="1"/>
          <p:nvPr/>
        </p:nvSpPr>
        <p:spPr>
          <a:xfrm>
            <a:off x="6349719" y="3451370"/>
            <a:ext cx="3646954" cy="500039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1588" spc="190" dirty="0">
                <a:solidFill>
                  <a:srgbClr val="FFFFFF"/>
                </a:solidFill>
                <a:latin typeface="Times New Roman"/>
                <a:cs typeface="Times New Roman"/>
              </a:rPr>
              <a:t>1/ </a:t>
            </a:r>
            <a:r>
              <a:rPr sz="1588" spc="-44" dirty="0">
                <a:solidFill>
                  <a:srgbClr val="FFFFFF"/>
                </a:solidFill>
                <a:latin typeface="Times New Roman"/>
                <a:cs typeface="Times New Roman"/>
              </a:rPr>
              <a:t>DESCRIPTION </a:t>
            </a:r>
            <a:r>
              <a:rPr sz="1588" spc="-224" dirty="0">
                <a:solidFill>
                  <a:srgbClr val="FFFFFF"/>
                </a:solidFill>
                <a:latin typeface="Times New Roman"/>
                <a:cs typeface="Times New Roman"/>
              </a:rPr>
              <a:t>ET</a:t>
            </a:r>
            <a:r>
              <a:rPr sz="1588" spc="-18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1588" spc="-35" dirty="0">
                <a:solidFill>
                  <a:srgbClr val="FFFFFF"/>
                </a:solidFill>
                <a:latin typeface="Times New Roman"/>
                <a:cs typeface="Times New Roman"/>
              </a:rPr>
              <a:t>FONCTIONNEMENT</a:t>
            </a:r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11206" defTabSz="806867"/>
            <a:r>
              <a:rPr sz="1588" spc="190" dirty="0">
                <a:solidFill>
                  <a:srgbClr val="FFFFFF"/>
                </a:solidFill>
                <a:latin typeface="Times New Roman"/>
                <a:cs typeface="Times New Roman"/>
              </a:rPr>
              <a:t>2/ </a:t>
            </a:r>
            <a:r>
              <a:rPr sz="1412" spc="-49" dirty="0">
                <a:solidFill>
                  <a:srgbClr val="FFFFFF"/>
                </a:solidFill>
                <a:latin typeface="Times New Roman"/>
                <a:cs typeface="Times New Roman"/>
              </a:rPr>
              <a:t>PROPRIÉTÉS/ </a:t>
            </a:r>
            <a:r>
              <a:rPr sz="1412" spc="-97" dirty="0">
                <a:solidFill>
                  <a:srgbClr val="FFFFFF"/>
                </a:solidFill>
                <a:latin typeface="Times New Roman"/>
                <a:cs typeface="Times New Roman"/>
              </a:rPr>
              <a:t>SÉCURITÉ</a:t>
            </a:r>
            <a:endParaRPr sz="1412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341589" y="6122021"/>
            <a:ext cx="123265" cy="255678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defTabSz="806867">
              <a:spcBef>
                <a:spcPts val="88"/>
              </a:spcBef>
            </a:pPr>
            <a:r>
              <a:rPr sz="1588" spc="84" dirty="0">
                <a:solidFill>
                  <a:prstClr val="black"/>
                </a:solidFill>
                <a:latin typeface="Times New Roman"/>
                <a:cs typeface="Times New Roman"/>
              </a:rPr>
              <a:t>2</a:t>
            </a:r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3838240" y="3111648"/>
            <a:ext cx="593351" cy="874059"/>
          </a:xfrm>
          <a:custGeom>
            <a:avLst/>
            <a:gdLst/>
            <a:ahLst/>
            <a:cxnLst/>
            <a:rect l="l" t="t" r="r" b="b"/>
            <a:pathLst>
              <a:path w="672464" h="990600">
                <a:moveTo>
                  <a:pt x="205740" y="335280"/>
                </a:moveTo>
                <a:lnTo>
                  <a:pt x="25908" y="335280"/>
                </a:lnTo>
                <a:lnTo>
                  <a:pt x="32183" y="275533"/>
                </a:lnTo>
                <a:lnTo>
                  <a:pt x="45185" y="221104"/>
                </a:lnTo>
                <a:lnTo>
                  <a:pt x="64916" y="171984"/>
                </a:lnTo>
                <a:lnTo>
                  <a:pt x="91382" y="128162"/>
                </a:lnTo>
                <a:lnTo>
                  <a:pt x="124587" y="89630"/>
                </a:lnTo>
                <a:lnTo>
                  <a:pt x="163242" y="57421"/>
                </a:lnTo>
                <a:lnTo>
                  <a:pt x="206053" y="32349"/>
                </a:lnTo>
                <a:lnTo>
                  <a:pt x="253016" y="14418"/>
                </a:lnTo>
                <a:lnTo>
                  <a:pt x="304126" y="3633"/>
                </a:lnTo>
                <a:lnTo>
                  <a:pt x="359378" y="0"/>
                </a:lnTo>
                <a:lnTo>
                  <a:pt x="402350" y="2375"/>
                </a:lnTo>
                <a:lnTo>
                  <a:pt x="442698" y="9358"/>
                </a:lnTo>
                <a:lnTo>
                  <a:pt x="480438" y="20949"/>
                </a:lnTo>
                <a:lnTo>
                  <a:pt x="515588" y="37147"/>
                </a:lnTo>
                <a:lnTo>
                  <a:pt x="547753" y="57773"/>
                </a:lnTo>
                <a:lnTo>
                  <a:pt x="601902" y="111313"/>
                </a:lnTo>
                <a:lnTo>
                  <a:pt x="623887" y="144208"/>
                </a:lnTo>
                <a:lnTo>
                  <a:pt x="638038" y="172212"/>
                </a:lnTo>
                <a:lnTo>
                  <a:pt x="346805" y="172212"/>
                </a:lnTo>
                <a:lnTo>
                  <a:pt x="318390" y="175015"/>
                </a:lnTo>
                <a:lnTo>
                  <a:pt x="268956" y="197018"/>
                </a:lnTo>
                <a:lnTo>
                  <a:pt x="230452" y="240152"/>
                </a:lnTo>
                <a:lnTo>
                  <a:pt x="209346" y="299665"/>
                </a:lnTo>
                <a:lnTo>
                  <a:pt x="205740" y="335280"/>
                </a:lnTo>
                <a:close/>
              </a:path>
              <a:path w="672464" h="990600">
                <a:moveTo>
                  <a:pt x="672084" y="990600"/>
                </a:moveTo>
                <a:lnTo>
                  <a:pt x="0" y="990600"/>
                </a:lnTo>
                <a:lnTo>
                  <a:pt x="0" y="902589"/>
                </a:lnTo>
                <a:lnTo>
                  <a:pt x="299561" y="597884"/>
                </a:lnTo>
                <a:lnTo>
                  <a:pt x="340137" y="555764"/>
                </a:lnTo>
                <a:lnTo>
                  <a:pt x="374884" y="517074"/>
                </a:lnTo>
                <a:lnTo>
                  <a:pt x="403802" y="481812"/>
                </a:lnTo>
                <a:lnTo>
                  <a:pt x="426891" y="449980"/>
                </a:lnTo>
                <a:lnTo>
                  <a:pt x="459887" y="389072"/>
                </a:lnTo>
                <a:lnTo>
                  <a:pt x="477824" y="328779"/>
                </a:lnTo>
                <a:lnTo>
                  <a:pt x="480060" y="300990"/>
                </a:lnTo>
                <a:lnTo>
                  <a:pt x="477736" y="274340"/>
                </a:lnTo>
                <a:lnTo>
                  <a:pt x="459124" y="228257"/>
                </a:lnTo>
                <a:lnTo>
                  <a:pt x="422832" y="192839"/>
                </a:lnTo>
                <a:lnTo>
                  <a:pt x="374826" y="174551"/>
                </a:lnTo>
                <a:lnTo>
                  <a:pt x="346805" y="172212"/>
                </a:lnTo>
                <a:lnTo>
                  <a:pt x="638038" y="172212"/>
                </a:lnTo>
                <a:lnTo>
                  <a:pt x="641639" y="179337"/>
                </a:lnTo>
                <a:lnTo>
                  <a:pt x="654319" y="214717"/>
                </a:lnTo>
                <a:lnTo>
                  <a:pt x="661927" y="250346"/>
                </a:lnTo>
                <a:lnTo>
                  <a:pt x="664464" y="286226"/>
                </a:lnTo>
                <a:lnTo>
                  <a:pt x="661372" y="330106"/>
                </a:lnTo>
                <a:lnTo>
                  <a:pt x="652093" y="375594"/>
                </a:lnTo>
                <a:lnTo>
                  <a:pt x="636616" y="422689"/>
                </a:lnTo>
                <a:lnTo>
                  <a:pt x="614934" y="471392"/>
                </a:lnTo>
                <a:lnTo>
                  <a:pt x="596170" y="505444"/>
                </a:lnTo>
                <a:lnTo>
                  <a:pt x="572837" y="541496"/>
                </a:lnTo>
                <a:lnTo>
                  <a:pt x="544937" y="579548"/>
                </a:lnTo>
                <a:lnTo>
                  <a:pt x="512473" y="619601"/>
                </a:lnTo>
                <a:lnTo>
                  <a:pt x="475447" y="661654"/>
                </a:lnTo>
                <a:lnTo>
                  <a:pt x="433863" y="705707"/>
                </a:lnTo>
                <a:lnTo>
                  <a:pt x="324231" y="819912"/>
                </a:lnTo>
                <a:lnTo>
                  <a:pt x="672084" y="819912"/>
                </a:lnTo>
                <a:lnTo>
                  <a:pt x="672084" y="9906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591718" y="6146229"/>
            <a:ext cx="525556" cy="120500"/>
          </a:xfrm>
          <a:prstGeom prst="rect">
            <a:avLst/>
          </a:prstGeom>
        </p:spPr>
        <p:txBody>
          <a:bodyPr vert="horz" wrap="square" lIns="0" tIns="11766" rIns="0" bIns="0" rtlCol="0">
            <a:spAutoFit/>
          </a:bodyPr>
          <a:lstStyle/>
          <a:p>
            <a:pPr defTabSz="806867">
              <a:spcBef>
                <a:spcPts val="93"/>
              </a:spcBef>
            </a:pPr>
            <a:r>
              <a:rPr sz="706" spc="-26" dirty="0">
                <a:solidFill>
                  <a:prstClr val="black"/>
                </a:solidFill>
                <a:latin typeface="Times New Roman"/>
                <a:cs typeface="Times New Roman"/>
              </a:rPr>
              <a:t>EVOLIS-</a:t>
            </a:r>
            <a:r>
              <a:rPr sz="706" spc="-53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706" spc="35" dirty="0">
                <a:solidFill>
                  <a:prstClr val="black"/>
                </a:solidFill>
                <a:latin typeface="Times New Roman"/>
                <a:cs typeface="Times New Roman"/>
              </a:rPr>
              <a:t>Saft</a:t>
            </a:r>
            <a:endParaRPr sz="706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2580512" y="6263601"/>
            <a:ext cx="605118" cy="110317"/>
          </a:xfrm>
          <a:prstGeom prst="rect">
            <a:avLst/>
          </a:prstGeom>
        </p:spPr>
        <p:txBody>
          <a:bodyPr vert="horz" wrap="square" lIns="0" tIns="1681" rIns="0" bIns="0" rtlCol="0">
            <a:spAutoFit/>
          </a:bodyPr>
          <a:lstStyle/>
          <a:p>
            <a:pPr marL="11206" defTabSz="806867">
              <a:spcBef>
                <a:spcPts val="13"/>
              </a:spcBef>
            </a:pPr>
            <a:r>
              <a:rPr sz="706" spc="22" dirty="0">
                <a:solidFill>
                  <a:prstClr val="black"/>
                </a:solidFill>
                <a:latin typeface="Times New Roman"/>
                <a:cs typeface="Times New Roman"/>
              </a:rPr>
              <a:t>6-7 </a:t>
            </a:r>
            <a:r>
              <a:rPr sz="706" spc="31" dirty="0">
                <a:solidFill>
                  <a:prstClr val="black"/>
                </a:solidFill>
                <a:latin typeface="Times New Roman"/>
                <a:cs typeface="Times New Roman"/>
              </a:rPr>
              <a:t>NOV</a:t>
            </a:r>
            <a:r>
              <a:rPr sz="706" spc="-53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706" spc="31" dirty="0">
                <a:solidFill>
                  <a:prstClr val="black"/>
                </a:solidFill>
                <a:latin typeface="Times New Roman"/>
                <a:cs typeface="Times New Roman"/>
              </a:rPr>
              <a:t>2019</a:t>
            </a:r>
            <a:endParaRPr sz="706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061883" y="1011218"/>
            <a:ext cx="8068235" cy="10085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9570720" y="6154718"/>
            <a:ext cx="145228" cy="9412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9793941" y="6173545"/>
            <a:ext cx="48745" cy="75640"/>
          </a:xfrm>
          <a:custGeom>
            <a:avLst/>
            <a:gdLst/>
            <a:ahLst/>
            <a:cxnLst/>
            <a:rect l="l" t="t" r="r" b="b"/>
            <a:pathLst>
              <a:path w="55245" h="85725">
                <a:moveTo>
                  <a:pt x="0" y="0"/>
                </a:moveTo>
                <a:lnTo>
                  <a:pt x="54864" y="0"/>
                </a:lnTo>
                <a:lnTo>
                  <a:pt x="54864" y="85344"/>
                </a:lnTo>
                <a:lnTo>
                  <a:pt x="0" y="85344"/>
                </a:lnTo>
                <a:lnTo>
                  <a:pt x="0" y="0"/>
                </a:lnTo>
                <a:close/>
              </a:path>
            </a:pathLst>
          </a:custGeom>
          <a:solidFill>
            <a:srgbClr val="C11F2D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9740153" y="6164804"/>
            <a:ext cx="156322" cy="0"/>
          </a:xfrm>
          <a:custGeom>
            <a:avLst/>
            <a:gdLst/>
            <a:ahLst/>
            <a:cxnLst/>
            <a:rect l="l" t="t" r="r" b="b"/>
            <a:pathLst>
              <a:path w="177165">
                <a:moveTo>
                  <a:pt x="0" y="0"/>
                </a:moveTo>
                <a:lnTo>
                  <a:pt x="176784" y="0"/>
                </a:lnTo>
              </a:path>
            </a:pathLst>
          </a:custGeom>
          <a:ln w="22860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9194201" y="6154718"/>
            <a:ext cx="151952" cy="9412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9373048" y="6154718"/>
            <a:ext cx="160020" cy="9412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9194202" y="6312722"/>
            <a:ext cx="705971" cy="0"/>
          </a:xfrm>
          <a:custGeom>
            <a:avLst/>
            <a:gdLst/>
            <a:ahLst/>
            <a:cxnLst/>
            <a:rect l="l" t="t" r="r" b="b"/>
            <a:pathLst>
              <a:path w="800100">
                <a:moveTo>
                  <a:pt x="0" y="0"/>
                </a:moveTo>
                <a:lnTo>
                  <a:pt x="800100" y="0"/>
                </a:lnTo>
              </a:path>
            </a:pathLst>
          </a:custGeom>
          <a:ln w="53340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2538581" y="6196405"/>
            <a:ext cx="0" cy="118782"/>
          </a:xfrm>
          <a:custGeom>
            <a:avLst/>
            <a:gdLst/>
            <a:ahLst/>
            <a:cxnLst/>
            <a:rect l="l" t="t" r="r" b="b"/>
            <a:pathLst>
              <a:path h="134620">
                <a:moveTo>
                  <a:pt x="0" y="0"/>
                </a:moveTo>
                <a:lnTo>
                  <a:pt x="0" y="134112"/>
                </a:lnTo>
              </a:path>
            </a:pathLst>
          </a:custGeom>
          <a:ln w="10668">
            <a:solidFill>
              <a:srgbClr val="595959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061883" y="1210236"/>
            <a:ext cx="8068235" cy="44778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2665228" y="487682"/>
            <a:ext cx="6843993" cy="608093"/>
          </a:xfrm>
          <a:prstGeom prst="rect">
            <a:avLst/>
          </a:prstGeom>
        </p:spPr>
        <p:txBody>
          <a:bodyPr vert="horz" wrap="square" lIns="0" tIns="10646" rIns="0" bIns="0" rtlCol="0">
            <a:spAutoFit/>
          </a:bodyPr>
          <a:lstStyle/>
          <a:p>
            <a:pPr marL="11206" marR="4483">
              <a:spcBef>
                <a:spcPts val="84"/>
              </a:spcBef>
            </a:pPr>
            <a:r>
              <a:rPr sz="1941" spc="137" dirty="0">
                <a:solidFill>
                  <a:srgbClr val="004660"/>
                </a:solidFill>
              </a:rPr>
              <a:t>Energie</a:t>
            </a:r>
            <a:r>
              <a:rPr sz="1941" spc="75" dirty="0">
                <a:solidFill>
                  <a:srgbClr val="004660"/>
                </a:solidFill>
              </a:rPr>
              <a:t> </a:t>
            </a:r>
            <a:r>
              <a:rPr sz="1941" spc="207" dirty="0">
                <a:solidFill>
                  <a:srgbClr val="004660"/>
                </a:solidFill>
              </a:rPr>
              <a:t>et</a:t>
            </a:r>
            <a:r>
              <a:rPr sz="1941" spc="79" dirty="0">
                <a:solidFill>
                  <a:srgbClr val="004660"/>
                </a:solidFill>
              </a:rPr>
              <a:t> </a:t>
            </a:r>
            <a:r>
              <a:rPr sz="1941" spc="221" dirty="0">
                <a:solidFill>
                  <a:srgbClr val="004660"/>
                </a:solidFill>
              </a:rPr>
              <a:t>puissance</a:t>
            </a:r>
            <a:r>
              <a:rPr sz="1941" spc="40" dirty="0">
                <a:solidFill>
                  <a:srgbClr val="004660"/>
                </a:solidFill>
              </a:rPr>
              <a:t> </a:t>
            </a:r>
            <a:r>
              <a:rPr sz="1941" dirty="0">
                <a:solidFill>
                  <a:srgbClr val="004660"/>
                </a:solidFill>
              </a:rPr>
              <a:t>:</a:t>
            </a:r>
            <a:r>
              <a:rPr sz="1941" spc="62" dirty="0">
                <a:solidFill>
                  <a:srgbClr val="004660"/>
                </a:solidFill>
              </a:rPr>
              <a:t> </a:t>
            </a:r>
            <a:r>
              <a:rPr sz="1941" spc="229" dirty="0">
                <a:solidFill>
                  <a:srgbClr val="004660"/>
                </a:solidFill>
              </a:rPr>
              <a:t>comparaison</a:t>
            </a:r>
            <a:r>
              <a:rPr sz="1941" spc="57" dirty="0">
                <a:solidFill>
                  <a:srgbClr val="004660"/>
                </a:solidFill>
              </a:rPr>
              <a:t> </a:t>
            </a:r>
            <a:r>
              <a:rPr sz="1941" spc="190" dirty="0">
                <a:solidFill>
                  <a:srgbClr val="004660"/>
                </a:solidFill>
              </a:rPr>
              <a:t>entre</a:t>
            </a:r>
            <a:r>
              <a:rPr sz="1941" spc="79" dirty="0">
                <a:solidFill>
                  <a:srgbClr val="004660"/>
                </a:solidFill>
              </a:rPr>
              <a:t> </a:t>
            </a:r>
            <a:r>
              <a:rPr sz="1941" spc="106" dirty="0">
                <a:solidFill>
                  <a:srgbClr val="004660"/>
                </a:solidFill>
              </a:rPr>
              <a:t>différents</a:t>
            </a:r>
            <a:r>
              <a:rPr sz="1941" spc="62" dirty="0">
                <a:solidFill>
                  <a:srgbClr val="004660"/>
                </a:solidFill>
              </a:rPr>
              <a:t> </a:t>
            </a:r>
            <a:r>
              <a:rPr sz="1941" spc="194" dirty="0">
                <a:solidFill>
                  <a:srgbClr val="004660"/>
                </a:solidFill>
              </a:rPr>
              <a:t>types  </a:t>
            </a:r>
            <a:r>
              <a:rPr sz="1941" spc="202" dirty="0">
                <a:solidFill>
                  <a:srgbClr val="004660"/>
                </a:solidFill>
              </a:rPr>
              <a:t>d’accumulateurs</a:t>
            </a:r>
            <a:endParaRPr sz="1941"/>
          </a:p>
        </p:txBody>
      </p:sp>
      <p:sp>
        <p:nvSpPr>
          <p:cNvPr id="12" name="object 12"/>
          <p:cNvSpPr/>
          <p:nvPr/>
        </p:nvSpPr>
        <p:spPr>
          <a:xfrm>
            <a:off x="4954344" y="2251037"/>
            <a:ext cx="3500269" cy="167281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7635772" y="3499794"/>
            <a:ext cx="1340784" cy="174309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872424" defTabSz="806867">
              <a:spcBef>
                <a:spcPts val="88"/>
              </a:spcBef>
            </a:pPr>
            <a:r>
              <a:rPr sz="1059" spc="35" dirty="0">
                <a:solidFill>
                  <a:prstClr val="black"/>
                </a:solidFill>
                <a:latin typeface="Times New Roman"/>
                <a:cs typeface="Times New Roman"/>
              </a:rPr>
              <a:t>Li-ion</a:t>
            </a:r>
            <a:endParaRPr sz="1059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7635772" y="3661184"/>
            <a:ext cx="1340784" cy="174309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R="128875" algn="r" defTabSz="806867">
              <a:spcBef>
                <a:spcPts val="88"/>
              </a:spcBef>
            </a:pPr>
            <a:r>
              <a:rPr sz="1059" spc="-9" dirty="0">
                <a:solidFill>
                  <a:prstClr val="black"/>
                </a:solidFill>
                <a:latin typeface="Times New Roman"/>
                <a:cs typeface="Times New Roman"/>
              </a:rPr>
              <a:t>H</a:t>
            </a:r>
            <a:r>
              <a:rPr sz="1059" spc="-4" dirty="0">
                <a:solidFill>
                  <a:prstClr val="black"/>
                </a:solidFill>
                <a:latin typeface="Times New Roman"/>
                <a:cs typeface="Times New Roman"/>
              </a:rPr>
              <a:t>i</a:t>
            </a:r>
            <a:r>
              <a:rPr sz="1059" spc="115" dirty="0">
                <a:solidFill>
                  <a:prstClr val="black"/>
                </a:solidFill>
                <a:latin typeface="Times New Roman"/>
                <a:cs typeface="Times New Roman"/>
              </a:rPr>
              <a:t>gh</a:t>
            </a:r>
            <a:endParaRPr sz="1059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452769" y="3822509"/>
            <a:ext cx="479612" cy="174309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1059" spc="84" dirty="0">
                <a:solidFill>
                  <a:prstClr val="black"/>
                </a:solidFill>
                <a:latin typeface="Times New Roman"/>
                <a:cs typeface="Times New Roman"/>
              </a:rPr>
              <a:t>Energy</a:t>
            </a:r>
            <a:endParaRPr sz="1059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3586779" y="5180731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3586779" y="5043991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3586779" y="4946164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3586779" y="4871029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3586779" y="4809340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3586779" y="4757065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3586779" y="4711513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3586779" y="4671256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3586779" y="4401810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3586779" y="4263641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3586779" y="4167159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7591313" y="4092024"/>
            <a:ext cx="1390650" cy="0"/>
          </a:xfrm>
          <a:custGeom>
            <a:avLst/>
            <a:gdLst/>
            <a:ahLst/>
            <a:cxnLst/>
            <a:rect l="l" t="t" r="r" b="b"/>
            <a:pathLst>
              <a:path w="1576070">
                <a:moveTo>
                  <a:pt x="0" y="0"/>
                </a:moveTo>
                <a:lnTo>
                  <a:pt x="1575815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3586779" y="4092024"/>
            <a:ext cx="3115796" cy="0"/>
          </a:xfrm>
          <a:custGeom>
            <a:avLst/>
            <a:gdLst/>
            <a:ahLst/>
            <a:cxnLst/>
            <a:rect l="l" t="t" r="r" b="b"/>
            <a:pathLst>
              <a:path w="3531235">
                <a:moveTo>
                  <a:pt x="0" y="0"/>
                </a:moveTo>
                <a:lnTo>
                  <a:pt x="353110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7591313" y="4030335"/>
            <a:ext cx="1390650" cy="0"/>
          </a:xfrm>
          <a:custGeom>
            <a:avLst/>
            <a:gdLst/>
            <a:ahLst/>
            <a:cxnLst/>
            <a:rect l="l" t="t" r="r" b="b"/>
            <a:pathLst>
              <a:path w="1576070">
                <a:moveTo>
                  <a:pt x="0" y="0"/>
                </a:moveTo>
                <a:lnTo>
                  <a:pt x="1575815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3586779" y="4030335"/>
            <a:ext cx="3115796" cy="0"/>
          </a:xfrm>
          <a:custGeom>
            <a:avLst/>
            <a:gdLst/>
            <a:ahLst/>
            <a:cxnLst/>
            <a:rect l="l" t="t" r="r" b="b"/>
            <a:pathLst>
              <a:path w="3531235">
                <a:moveTo>
                  <a:pt x="0" y="0"/>
                </a:moveTo>
                <a:lnTo>
                  <a:pt x="353110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3586779" y="3978060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3586779" y="3932508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3586779" y="3892250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3586779" y="3622805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3586779" y="3484637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3586779" y="3388154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3586779" y="3311758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3586779" y="3250069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3586779" y="3197710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3586779" y="3153503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5394063" y="3113246"/>
            <a:ext cx="3588124" cy="0"/>
          </a:xfrm>
          <a:custGeom>
            <a:avLst/>
            <a:gdLst/>
            <a:ahLst/>
            <a:cxnLst/>
            <a:rect l="l" t="t" r="r" b="b"/>
            <a:pathLst>
              <a:path w="4066540">
                <a:moveTo>
                  <a:pt x="0" y="0"/>
                </a:moveTo>
                <a:lnTo>
                  <a:pt x="4066031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2" name="object 42"/>
          <p:cNvSpPr/>
          <p:nvPr/>
        </p:nvSpPr>
        <p:spPr>
          <a:xfrm>
            <a:off x="3586779" y="3113246"/>
            <a:ext cx="1252257" cy="0"/>
          </a:xfrm>
          <a:custGeom>
            <a:avLst/>
            <a:gdLst/>
            <a:ahLst/>
            <a:cxnLst/>
            <a:rect l="l" t="t" r="r" b="b"/>
            <a:pathLst>
              <a:path w="1419225">
                <a:moveTo>
                  <a:pt x="0" y="0"/>
                </a:moveTo>
                <a:lnTo>
                  <a:pt x="1418844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3" name="object 43"/>
          <p:cNvSpPr/>
          <p:nvPr/>
        </p:nvSpPr>
        <p:spPr>
          <a:xfrm>
            <a:off x="3586779" y="2842456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4" name="object 44"/>
          <p:cNvSpPr/>
          <p:nvPr/>
        </p:nvSpPr>
        <p:spPr>
          <a:xfrm>
            <a:off x="3586779" y="2705716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3586779" y="2607805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3586779" y="2532754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7" name="object 47"/>
          <p:cNvSpPr/>
          <p:nvPr/>
        </p:nvSpPr>
        <p:spPr>
          <a:xfrm>
            <a:off x="3586779" y="2471065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8" name="object 48"/>
          <p:cNvSpPr/>
          <p:nvPr/>
        </p:nvSpPr>
        <p:spPr>
          <a:xfrm>
            <a:off x="3586779" y="2418790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9" name="object 49"/>
          <p:cNvSpPr/>
          <p:nvPr/>
        </p:nvSpPr>
        <p:spPr>
          <a:xfrm>
            <a:off x="3586779" y="2374498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0" name="object 50"/>
          <p:cNvSpPr/>
          <p:nvPr/>
        </p:nvSpPr>
        <p:spPr>
          <a:xfrm>
            <a:off x="3586779" y="2334325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3586779" y="2063450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2" name="object 52"/>
          <p:cNvSpPr/>
          <p:nvPr/>
        </p:nvSpPr>
        <p:spPr>
          <a:xfrm>
            <a:off x="3586779" y="1926711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3586779" y="1828799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4" name="object 54"/>
          <p:cNvSpPr/>
          <p:nvPr/>
        </p:nvSpPr>
        <p:spPr>
          <a:xfrm>
            <a:off x="3586779" y="1753748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5" name="object 55"/>
          <p:cNvSpPr/>
          <p:nvPr/>
        </p:nvSpPr>
        <p:spPr>
          <a:xfrm>
            <a:off x="3586779" y="1692060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6" name="object 56"/>
          <p:cNvSpPr/>
          <p:nvPr/>
        </p:nvSpPr>
        <p:spPr>
          <a:xfrm>
            <a:off x="3586779" y="1639784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7" name="object 57"/>
          <p:cNvSpPr/>
          <p:nvPr/>
        </p:nvSpPr>
        <p:spPr>
          <a:xfrm>
            <a:off x="3586779" y="1594148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8" name="object 58"/>
          <p:cNvSpPr/>
          <p:nvPr/>
        </p:nvSpPr>
        <p:spPr>
          <a:xfrm>
            <a:off x="3586779" y="1555320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BFBFBF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9" name="object 59"/>
          <p:cNvSpPr/>
          <p:nvPr/>
        </p:nvSpPr>
        <p:spPr>
          <a:xfrm>
            <a:off x="3586779" y="4636377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000000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3586779" y="3857456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000000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1" name="object 61"/>
          <p:cNvSpPr/>
          <p:nvPr/>
        </p:nvSpPr>
        <p:spPr>
          <a:xfrm>
            <a:off x="5394063" y="3077107"/>
            <a:ext cx="3588124" cy="0"/>
          </a:xfrm>
          <a:custGeom>
            <a:avLst/>
            <a:gdLst/>
            <a:ahLst/>
            <a:cxnLst/>
            <a:rect l="l" t="t" r="r" b="b"/>
            <a:pathLst>
              <a:path w="4066540">
                <a:moveTo>
                  <a:pt x="0" y="0"/>
                </a:moveTo>
                <a:lnTo>
                  <a:pt x="4066031" y="0"/>
                </a:lnTo>
              </a:path>
            </a:pathLst>
          </a:custGeom>
          <a:ln w="4762">
            <a:solidFill>
              <a:srgbClr val="000000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2" name="object 62"/>
          <p:cNvSpPr/>
          <p:nvPr/>
        </p:nvSpPr>
        <p:spPr>
          <a:xfrm>
            <a:off x="3586779" y="3077107"/>
            <a:ext cx="1252257" cy="0"/>
          </a:xfrm>
          <a:custGeom>
            <a:avLst/>
            <a:gdLst/>
            <a:ahLst/>
            <a:cxnLst/>
            <a:rect l="l" t="t" r="r" b="b"/>
            <a:pathLst>
              <a:path w="1419225">
                <a:moveTo>
                  <a:pt x="0" y="0"/>
                </a:moveTo>
                <a:lnTo>
                  <a:pt x="1418844" y="0"/>
                </a:lnTo>
              </a:path>
            </a:pathLst>
          </a:custGeom>
          <a:ln w="4762">
            <a:solidFill>
              <a:srgbClr val="000000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3" name="object 63"/>
          <p:cNvSpPr/>
          <p:nvPr/>
        </p:nvSpPr>
        <p:spPr>
          <a:xfrm>
            <a:off x="3586779" y="2298102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000000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4" name="object 64"/>
          <p:cNvSpPr/>
          <p:nvPr/>
        </p:nvSpPr>
        <p:spPr>
          <a:xfrm>
            <a:off x="3586779" y="1519097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000000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5" name="object 65"/>
          <p:cNvSpPr/>
          <p:nvPr/>
        </p:nvSpPr>
        <p:spPr>
          <a:xfrm>
            <a:off x="4936191" y="1519097"/>
            <a:ext cx="0" cy="1463488"/>
          </a:xfrm>
          <a:custGeom>
            <a:avLst/>
            <a:gdLst/>
            <a:ahLst/>
            <a:cxnLst/>
            <a:rect l="l" t="t" r="r" b="b"/>
            <a:pathLst>
              <a:path h="1658620">
                <a:moveTo>
                  <a:pt x="0" y="0"/>
                </a:moveTo>
                <a:lnTo>
                  <a:pt x="0" y="1658588"/>
                </a:lnTo>
              </a:path>
            </a:pathLst>
          </a:custGeom>
          <a:ln w="4762">
            <a:solidFill>
              <a:srgbClr val="000000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6" name="object 66"/>
          <p:cNvSpPr/>
          <p:nvPr/>
        </p:nvSpPr>
        <p:spPr>
          <a:xfrm>
            <a:off x="4936191" y="3146612"/>
            <a:ext cx="0" cy="2269191"/>
          </a:xfrm>
          <a:custGeom>
            <a:avLst/>
            <a:gdLst/>
            <a:ahLst/>
            <a:cxnLst/>
            <a:rect l="l" t="t" r="r" b="b"/>
            <a:pathLst>
              <a:path h="2571750">
                <a:moveTo>
                  <a:pt x="0" y="0"/>
                </a:moveTo>
                <a:lnTo>
                  <a:pt x="0" y="2571273"/>
                </a:lnTo>
              </a:path>
            </a:pathLst>
          </a:custGeom>
          <a:ln w="4762">
            <a:solidFill>
              <a:srgbClr val="000000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7" name="object 67"/>
          <p:cNvSpPr/>
          <p:nvPr/>
        </p:nvSpPr>
        <p:spPr>
          <a:xfrm>
            <a:off x="6284258" y="1519097"/>
            <a:ext cx="0" cy="3896285"/>
          </a:xfrm>
          <a:custGeom>
            <a:avLst/>
            <a:gdLst/>
            <a:ahLst/>
            <a:cxnLst/>
            <a:rect l="l" t="t" r="r" b="b"/>
            <a:pathLst>
              <a:path h="4415790">
                <a:moveTo>
                  <a:pt x="0" y="0"/>
                </a:moveTo>
                <a:lnTo>
                  <a:pt x="0" y="4415790"/>
                </a:lnTo>
              </a:path>
            </a:pathLst>
          </a:custGeom>
          <a:ln w="4762">
            <a:solidFill>
              <a:srgbClr val="000000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8" name="object 68"/>
          <p:cNvSpPr/>
          <p:nvPr/>
        </p:nvSpPr>
        <p:spPr>
          <a:xfrm>
            <a:off x="7633670" y="1519097"/>
            <a:ext cx="0" cy="3896285"/>
          </a:xfrm>
          <a:custGeom>
            <a:avLst/>
            <a:gdLst/>
            <a:ahLst/>
            <a:cxnLst/>
            <a:rect l="l" t="t" r="r" b="b"/>
            <a:pathLst>
              <a:path h="4415790">
                <a:moveTo>
                  <a:pt x="0" y="0"/>
                </a:moveTo>
                <a:lnTo>
                  <a:pt x="0" y="4415790"/>
                </a:lnTo>
              </a:path>
            </a:pathLst>
          </a:custGeom>
          <a:ln w="4762">
            <a:solidFill>
              <a:srgbClr val="000000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9" name="object 69"/>
          <p:cNvSpPr/>
          <p:nvPr/>
        </p:nvSpPr>
        <p:spPr>
          <a:xfrm>
            <a:off x="8981739" y="1519097"/>
            <a:ext cx="0" cy="3896285"/>
          </a:xfrm>
          <a:custGeom>
            <a:avLst/>
            <a:gdLst/>
            <a:ahLst/>
            <a:cxnLst/>
            <a:rect l="l" t="t" r="r" b="b"/>
            <a:pathLst>
              <a:path h="4415790">
                <a:moveTo>
                  <a:pt x="0" y="0"/>
                </a:moveTo>
                <a:lnTo>
                  <a:pt x="0" y="4415790"/>
                </a:lnTo>
              </a:path>
            </a:pathLst>
          </a:custGeom>
          <a:ln w="4762">
            <a:solidFill>
              <a:srgbClr val="000000"/>
            </a:solidFill>
            <a:prstDash val="sysDot"/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0" name="object 70"/>
          <p:cNvSpPr/>
          <p:nvPr/>
        </p:nvSpPr>
        <p:spPr>
          <a:xfrm>
            <a:off x="3586779" y="1519097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1217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1" name="object 71"/>
          <p:cNvSpPr/>
          <p:nvPr/>
        </p:nvSpPr>
        <p:spPr>
          <a:xfrm>
            <a:off x="8981739" y="1519097"/>
            <a:ext cx="0" cy="3896285"/>
          </a:xfrm>
          <a:custGeom>
            <a:avLst/>
            <a:gdLst/>
            <a:ahLst/>
            <a:cxnLst/>
            <a:rect l="l" t="t" r="r" b="b"/>
            <a:pathLst>
              <a:path h="4415790">
                <a:moveTo>
                  <a:pt x="0" y="0"/>
                </a:moveTo>
                <a:lnTo>
                  <a:pt x="0" y="4415790"/>
                </a:lnTo>
              </a:path>
            </a:pathLst>
          </a:custGeom>
          <a:ln w="1217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2" name="object 72"/>
          <p:cNvSpPr/>
          <p:nvPr/>
        </p:nvSpPr>
        <p:spPr>
          <a:xfrm>
            <a:off x="3586779" y="5415382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6114288" y="0"/>
                </a:moveTo>
                <a:lnTo>
                  <a:pt x="0" y="0"/>
                </a:lnTo>
              </a:path>
            </a:pathLst>
          </a:custGeom>
          <a:ln w="1217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3" name="object 73"/>
          <p:cNvSpPr/>
          <p:nvPr/>
        </p:nvSpPr>
        <p:spPr>
          <a:xfrm>
            <a:off x="3586779" y="1519097"/>
            <a:ext cx="0" cy="3896285"/>
          </a:xfrm>
          <a:custGeom>
            <a:avLst/>
            <a:gdLst/>
            <a:ahLst/>
            <a:cxnLst/>
            <a:rect l="l" t="t" r="r" b="b"/>
            <a:pathLst>
              <a:path h="4415790">
                <a:moveTo>
                  <a:pt x="0" y="4415790"/>
                </a:moveTo>
                <a:lnTo>
                  <a:pt x="0" y="0"/>
                </a:lnTo>
              </a:path>
            </a:pathLst>
          </a:custGeom>
          <a:ln w="1217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4" name="object 74"/>
          <p:cNvSpPr/>
          <p:nvPr/>
        </p:nvSpPr>
        <p:spPr>
          <a:xfrm>
            <a:off x="3586779" y="1519097"/>
            <a:ext cx="0" cy="3896285"/>
          </a:xfrm>
          <a:custGeom>
            <a:avLst/>
            <a:gdLst/>
            <a:ahLst/>
            <a:cxnLst/>
            <a:rect l="l" t="t" r="r" b="b"/>
            <a:pathLst>
              <a:path h="4415790">
                <a:moveTo>
                  <a:pt x="0" y="0"/>
                </a:moveTo>
                <a:lnTo>
                  <a:pt x="0" y="441579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5" name="object 75"/>
          <p:cNvSpPr/>
          <p:nvPr/>
        </p:nvSpPr>
        <p:spPr>
          <a:xfrm>
            <a:off x="3586779" y="5415382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6" name="object 76"/>
          <p:cNvSpPr/>
          <p:nvPr/>
        </p:nvSpPr>
        <p:spPr>
          <a:xfrm>
            <a:off x="3586779" y="5180731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7" name="object 77"/>
          <p:cNvSpPr/>
          <p:nvPr/>
        </p:nvSpPr>
        <p:spPr>
          <a:xfrm>
            <a:off x="3586779" y="5043991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8" name="object 78"/>
          <p:cNvSpPr/>
          <p:nvPr/>
        </p:nvSpPr>
        <p:spPr>
          <a:xfrm>
            <a:off x="3586779" y="4946164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9" name="object 79"/>
          <p:cNvSpPr/>
          <p:nvPr/>
        </p:nvSpPr>
        <p:spPr>
          <a:xfrm>
            <a:off x="3586779" y="4871029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0" name="object 80"/>
          <p:cNvSpPr/>
          <p:nvPr/>
        </p:nvSpPr>
        <p:spPr>
          <a:xfrm>
            <a:off x="3586779" y="4809340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1" name="object 81"/>
          <p:cNvSpPr/>
          <p:nvPr/>
        </p:nvSpPr>
        <p:spPr>
          <a:xfrm>
            <a:off x="3586779" y="4757065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2" name="object 82"/>
          <p:cNvSpPr/>
          <p:nvPr/>
        </p:nvSpPr>
        <p:spPr>
          <a:xfrm>
            <a:off x="3586779" y="4711513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3" name="object 83"/>
          <p:cNvSpPr/>
          <p:nvPr/>
        </p:nvSpPr>
        <p:spPr>
          <a:xfrm>
            <a:off x="3586779" y="4671256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4" name="object 84"/>
          <p:cNvSpPr/>
          <p:nvPr/>
        </p:nvSpPr>
        <p:spPr>
          <a:xfrm>
            <a:off x="3586779" y="4636377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5" name="object 85"/>
          <p:cNvSpPr/>
          <p:nvPr/>
        </p:nvSpPr>
        <p:spPr>
          <a:xfrm>
            <a:off x="3586779" y="4401810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6" name="object 86"/>
          <p:cNvSpPr/>
          <p:nvPr/>
        </p:nvSpPr>
        <p:spPr>
          <a:xfrm>
            <a:off x="3586779" y="4263641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7" name="object 87"/>
          <p:cNvSpPr/>
          <p:nvPr/>
        </p:nvSpPr>
        <p:spPr>
          <a:xfrm>
            <a:off x="3586779" y="4167159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8" name="object 88"/>
          <p:cNvSpPr/>
          <p:nvPr/>
        </p:nvSpPr>
        <p:spPr>
          <a:xfrm>
            <a:off x="3586779" y="4092024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9" name="object 89"/>
          <p:cNvSpPr/>
          <p:nvPr/>
        </p:nvSpPr>
        <p:spPr>
          <a:xfrm>
            <a:off x="3586779" y="4030335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0" name="object 90"/>
          <p:cNvSpPr/>
          <p:nvPr/>
        </p:nvSpPr>
        <p:spPr>
          <a:xfrm>
            <a:off x="3586779" y="3978060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1" name="object 91"/>
          <p:cNvSpPr/>
          <p:nvPr/>
        </p:nvSpPr>
        <p:spPr>
          <a:xfrm>
            <a:off x="3586779" y="3932508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2" name="object 92"/>
          <p:cNvSpPr/>
          <p:nvPr/>
        </p:nvSpPr>
        <p:spPr>
          <a:xfrm>
            <a:off x="3586779" y="3892250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3" name="object 93"/>
          <p:cNvSpPr/>
          <p:nvPr/>
        </p:nvSpPr>
        <p:spPr>
          <a:xfrm>
            <a:off x="3586779" y="3857456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4" name="object 94"/>
          <p:cNvSpPr/>
          <p:nvPr/>
        </p:nvSpPr>
        <p:spPr>
          <a:xfrm>
            <a:off x="3586779" y="3622805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5" name="object 95"/>
          <p:cNvSpPr/>
          <p:nvPr/>
        </p:nvSpPr>
        <p:spPr>
          <a:xfrm>
            <a:off x="3586779" y="3484637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6" name="object 96"/>
          <p:cNvSpPr/>
          <p:nvPr/>
        </p:nvSpPr>
        <p:spPr>
          <a:xfrm>
            <a:off x="3586779" y="3388154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7" name="object 97"/>
          <p:cNvSpPr/>
          <p:nvPr/>
        </p:nvSpPr>
        <p:spPr>
          <a:xfrm>
            <a:off x="3586779" y="3311758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8" name="object 98"/>
          <p:cNvSpPr/>
          <p:nvPr/>
        </p:nvSpPr>
        <p:spPr>
          <a:xfrm>
            <a:off x="3586779" y="3250069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9" name="object 99"/>
          <p:cNvSpPr/>
          <p:nvPr/>
        </p:nvSpPr>
        <p:spPr>
          <a:xfrm>
            <a:off x="3586779" y="3197710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0" name="object 100"/>
          <p:cNvSpPr/>
          <p:nvPr/>
        </p:nvSpPr>
        <p:spPr>
          <a:xfrm>
            <a:off x="3586779" y="3153503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1" name="object 101"/>
          <p:cNvSpPr/>
          <p:nvPr/>
        </p:nvSpPr>
        <p:spPr>
          <a:xfrm>
            <a:off x="3586779" y="3113246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2" name="object 102"/>
          <p:cNvSpPr/>
          <p:nvPr/>
        </p:nvSpPr>
        <p:spPr>
          <a:xfrm>
            <a:off x="3586779" y="3077107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3" name="object 103"/>
          <p:cNvSpPr/>
          <p:nvPr/>
        </p:nvSpPr>
        <p:spPr>
          <a:xfrm>
            <a:off x="3586779" y="2842456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4" name="object 104"/>
          <p:cNvSpPr/>
          <p:nvPr/>
        </p:nvSpPr>
        <p:spPr>
          <a:xfrm>
            <a:off x="3586779" y="2705716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5" name="object 105"/>
          <p:cNvSpPr/>
          <p:nvPr/>
        </p:nvSpPr>
        <p:spPr>
          <a:xfrm>
            <a:off x="3586779" y="2607805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6" name="object 106"/>
          <p:cNvSpPr/>
          <p:nvPr/>
        </p:nvSpPr>
        <p:spPr>
          <a:xfrm>
            <a:off x="3586779" y="2532754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7" name="object 107"/>
          <p:cNvSpPr/>
          <p:nvPr/>
        </p:nvSpPr>
        <p:spPr>
          <a:xfrm>
            <a:off x="3586779" y="2471065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8" name="object 108"/>
          <p:cNvSpPr/>
          <p:nvPr/>
        </p:nvSpPr>
        <p:spPr>
          <a:xfrm>
            <a:off x="3586779" y="2418790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9" name="object 109"/>
          <p:cNvSpPr/>
          <p:nvPr/>
        </p:nvSpPr>
        <p:spPr>
          <a:xfrm>
            <a:off x="3586779" y="2374498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0" name="object 110"/>
          <p:cNvSpPr/>
          <p:nvPr/>
        </p:nvSpPr>
        <p:spPr>
          <a:xfrm>
            <a:off x="3586779" y="2334325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1" name="object 111"/>
          <p:cNvSpPr/>
          <p:nvPr/>
        </p:nvSpPr>
        <p:spPr>
          <a:xfrm>
            <a:off x="3586779" y="2298102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2" name="object 112"/>
          <p:cNvSpPr/>
          <p:nvPr/>
        </p:nvSpPr>
        <p:spPr>
          <a:xfrm>
            <a:off x="3586779" y="2063450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3" name="object 113"/>
          <p:cNvSpPr/>
          <p:nvPr/>
        </p:nvSpPr>
        <p:spPr>
          <a:xfrm>
            <a:off x="3586779" y="1926711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4" name="object 114"/>
          <p:cNvSpPr/>
          <p:nvPr/>
        </p:nvSpPr>
        <p:spPr>
          <a:xfrm>
            <a:off x="3586779" y="1828799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5" name="object 115"/>
          <p:cNvSpPr/>
          <p:nvPr/>
        </p:nvSpPr>
        <p:spPr>
          <a:xfrm>
            <a:off x="3586779" y="1753748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6" name="object 116"/>
          <p:cNvSpPr/>
          <p:nvPr/>
        </p:nvSpPr>
        <p:spPr>
          <a:xfrm>
            <a:off x="3586779" y="1692060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7" name="object 117"/>
          <p:cNvSpPr/>
          <p:nvPr/>
        </p:nvSpPr>
        <p:spPr>
          <a:xfrm>
            <a:off x="3586779" y="1639784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8" name="object 118"/>
          <p:cNvSpPr/>
          <p:nvPr/>
        </p:nvSpPr>
        <p:spPr>
          <a:xfrm>
            <a:off x="3586779" y="1594148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9" name="object 119"/>
          <p:cNvSpPr/>
          <p:nvPr/>
        </p:nvSpPr>
        <p:spPr>
          <a:xfrm>
            <a:off x="3586779" y="1555320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0" name="object 120"/>
          <p:cNvSpPr/>
          <p:nvPr/>
        </p:nvSpPr>
        <p:spPr>
          <a:xfrm>
            <a:off x="3586779" y="1519097"/>
            <a:ext cx="29696" cy="0"/>
          </a:xfrm>
          <a:custGeom>
            <a:avLst/>
            <a:gdLst/>
            <a:ahLst/>
            <a:cxnLst/>
            <a:rect l="l" t="t" r="r" b="b"/>
            <a:pathLst>
              <a:path w="33655">
                <a:moveTo>
                  <a:pt x="0" y="0"/>
                </a:moveTo>
                <a:lnTo>
                  <a:pt x="33432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1" name="object 121"/>
          <p:cNvSpPr/>
          <p:nvPr/>
        </p:nvSpPr>
        <p:spPr>
          <a:xfrm>
            <a:off x="3547782" y="5415382"/>
            <a:ext cx="39221" cy="0"/>
          </a:xfrm>
          <a:custGeom>
            <a:avLst/>
            <a:gdLst/>
            <a:ahLst/>
            <a:cxnLst/>
            <a:rect l="l" t="t" r="r" b="b"/>
            <a:pathLst>
              <a:path w="44450">
                <a:moveTo>
                  <a:pt x="0" y="0"/>
                </a:moveTo>
                <a:lnTo>
                  <a:pt x="44195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2" name="object 122"/>
          <p:cNvSpPr/>
          <p:nvPr/>
        </p:nvSpPr>
        <p:spPr>
          <a:xfrm>
            <a:off x="3547782" y="4636377"/>
            <a:ext cx="39221" cy="0"/>
          </a:xfrm>
          <a:custGeom>
            <a:avLst/>
            <a:gdLst/>
            <a:ahLst/>
            <a:cxnLst/>
            <a:rect l="l" t="t" r="r" b="b"/>
            <a:pathLst>
              <a:path w="44450">
                <a:moveTo>
                  <a:pt x="0" y="0"/>
                </a:moveTo>
                <a:lnTo>
                  <a:pt x="44195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3" name="object 123"/>
          <p:cNvSpPr/>
          <p:nvPr/>
        </p:nvSpPr>
        <p:spPr>
          <a:xfrm>
            <a:off x="3547782" y="3857456"/>
            <a:ext cx="39221" cy="0"/>
          </a:xfrm>
          <a:custGeom>
            <a:avLst/>
            <a:gdLst/>
            <a:ahLst/>
            <a:cxnLst/>
            <a:rect l="l" t="t" r="r" b="b"/>
            <a:pathLst>
              <a:path w="44450">
                <a:moveTo>
                  <a:pt x="0" y="0"/>
                </a:moveTo>
                <a:lnTo>
                  <a:pt x="44195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4" name="object 124"/>
          <p:cNvSpPr/>
          <p:nvPr/>
        </p:nvSpPr>
        <p:spPr>
          <a:xfrm>
            <a:off x="3547782" y="3077107"/>
            <a:ext cx="39221" cy="0"/>
          </a:xfrm>
          <a:custGeom>
            <a:avLst/>
            <a:gdLst/>
            <a:ahLst/>
            <a:cxnLst/>
            <a:rect l="l" t="t" r="r" b="b"/>
            <a:pathLst>
              <a:path w="44450">
                <a:moveTo>
                  <a:pt x="0" y="0"/>
                </a:moveTo>
                <a:lnTo>
                  <a:pt x="44195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5" name="object 125"/>
          <p:cNvSpPr/>
          <p:nvPr/>
        </p:nvSpPr>
        <p:spPr>
          <a:xfrm>
            <a:off x="3547782" y="2298102"/>
            <a:ext cx="39221" cy="0"/>
          </a:xfrm>
          <a:custGeom>
            <a:avLst/>
            <a:gdLst/>
            <a:ahLst/>
            <a:cxnLst/>
            <a:rect l="l" t="t" r="r" b="b"/>
            <a:pathLst>
              <a:path w="44450">
                <a:moveTo>
                  <a:pt x="0" y="0"/>
                </a:moveTo>
                <a:lnTo>
                  <a:pt x="44195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6" name="object 126"/>
          <p:cNvSpPr/>
          <p:nvPr/>
        </p:nvSpPr>
        <p:spPr>
          <a:xfrm>
            <a:off x="3547782" y="1519097"/>
            <a:ext cx="39221" cy="0"/>
          </a:xfrm>
          <a:custGeom>
            <a:avLst/>
            <a:gdLst/>
            <a:ahLst/>
            <a:cxnLst/>
            <a:rect l="l" t="t" r="r" b="b"/>
            <a:pathLst>
              <a:path w="44450">
                <a:moveTo>
                  <a:pt x="0" y="0"/>
                </a:moveTo>
                <a:lnTo>
                  <a:pt x="44195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7" name="object 127"/>
          <p:cNvSpPr/>
          <p:nvPr/>
        </p:nvSpPr>
        <p:spPr>
          <a:xfrm>
            <a:off x="3586779" y="5415382"/>
            <a:ext cx="5395072" cy="0"/>
          </a:xfrm>
          <a:custGeom>
            <a:avLst/>
            <a:gdLst/>
            <a:ahLst/>
            <a:cxnLst/>
            <a:rect l="l" t="t" r="r" b="b"/>
            <a:pathLst>
              <a:path w="6114415">
                <a:moveTo>
                  <a:pt x="0" y="0"/>
                </a:moveTo>
                <a:lnTo>
                  <a:pt x="6114288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8" name="object 128"/>
          <p:cNvSpPr/>
          <p:nvPr/>
        </p:nvSpPr>
        <p:spPr>
          <a:xfrm>
            <a:off x="3574677" y="2285706"/>
            <a:ext cx="4751602" cy="3168589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9" name="object 129"/>
          <p:cNvSpPr/>
          <p:nvPr/>
        </p:nvSpPr>
        <p:spPr>
          <a:xfrm>
            <a:off x="4666241" y="5385883"/>
            <a:ext cx="0" cy="29696"/>
          </a:xfrm>
          <a:custGeom>
            <a:avLst/>
            <a:gdLst/>
            <a:ahLst/>
            <a:cxnLst/>
            <a:rect l="l" t="t" r="r" b="b"/>
            <a:pathLst>
              <a:path h="33654">
                <a:moveTo>
                  <a:pt x="0" y="33432"/>
                </a:moveTo>
                <a:lnTo>
                  <a:pt x="0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0" name="object 130"/>
          <p:cNvSpPr/>
          <p:nvPr/>
        </p:nvSpPr>
        <p:spPr>
          <a:xfrm>
            <a:off x="4936191" y="5385883"/>
            <a:ext cx="0" cy="29696"/>
          </a:xfrm>
          <a:custGeom>
            <a:avLst/>
            <a:gdLst/>
            <a:ahLst/>
            <a:cxnLst/>
            <a:rect l="l" t="t" r="r" b="b"/>
            <a:pathLst>
              <a:path h="33654">
                <a:moveTo>
                  <a:pt x="0" y="33432"/>
                </a:moveTo>
                <a:lnTo>
                  <a:pt x="0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1" name="object 131"/>
          <p:cNvSpPr/>
          <p:nvPr/>
        </p:nvSpPr>
        <p:spPr>
          <a:xfrm>
            <a:off x="5204711" y="5385883"/>
            <a:ext cx="0" cy="29696"/>
          </a:xfrm>
          <a:custGeom>
            <a:avLst/>
            <a:gdLst/>
            <a:ahLst/>
            <a:cxnLst/>
            <a:rect l="l" t="t" r="r" b="b"/>
            <a:pathLst>
              <a:path h="33654">
                <a:moveTo>
                  <a:pt x="0" y="33432"/>
                </a:moveTo>
                <a:lnTo>
                  <a:pt x="0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2" name="object 132"/>
          <p:cNvSpPr/>
          <p:nvPr/>
        </p:nvSpPr>
        <p:spPr>
          <a:xfrm>
            <a:off x="5474577" y="5385883"/>
            <a:ext cx="0" cy="29696"/>
          </a:xfrm>
          <a:custGeom>
            <a:avLst/>
            <a:gdLst/>
            <a:ahLst/>
            <a:cxnLst/>
            <a:rect l="l" t="t" r="r" b="b"/>
            <a:pathLst>
              <a:path h="33654">
                <a:moveTo>
                  <a:pt x="0" y="33432"/>
                </a:moveTo>
                <a:lnTo>
                  <a:pt x="0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3" name="object 133"/>
          <p:cNvSpPr/>
          <p:nvPr/>
        </p:nvSpPr>
        <p:spPr>
          <a:xfrm>
            <a:off x="5744443" y="5385883"/>
            <a:ext cx="0" cy="29696"/>
          </a:xfrm>
          <a:custGeom>
            <a:avLst/>
            <a:gdLst/>
            <a:ahLst/>
            <a:cxnLst/>
            <a:rect l="l" t="t" r="r" b="b"/>
            <a:pathLst>
              <a:path h="33654">
                <a:moveTo>
                  <a:pt x="0" y="33432"/>
                </a:moveTo>
                <a:lnTo>
                  <a:pt x="0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4" name="object 134"/>
          <p:cNvSpPr/>
          <p:nvPr/>
        </p:nvSpPr>
        <p:spPr>
          <a:xfrm>
            <a:off x="6014308" y="5385883"/>
            <a:ext cx="0" cy="29696"/>
          </a:xfrm>
          <a:custGeom>
            <a:avLst/>
            <a:gdLst/>
            <a:ahLst/>
            <a:cxnLst/>
            <a:rect l="l" t="t" r="r" b="b"/>
            <a:pathLst>
              <a:path h="33654">
                <a:moveTo>
                  <a:pt x="0" y="33432"/>
                </a:moveTo>
                <a:lnTo>
                  <a:pt x="0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5" name="object 135"/>
          <p:cNvSpPr/>
          <p:nvPr/>
        </p:nvSpPr>
        <p:spPr>
          <a:xfrm>
            <a:off x="6284258" y="5385883"/>
            <a:ext cx="0" cy="29696"/>
          </a:xfrm>
          <a:custGeom>
            <a:avLst/>
            <a:gdLst/>
            <a:ahLst/>
            <a:cxnLst/>
            <a:rect l="l" t="t" r="r" b="b"/>
            <a:pathLst>
              <a:path h="33654">
                <a:moveTo>
                  <a:pt x="0" y="33432"/>
                </a:moveTo>
                <a:lnTo>
                  <a:pt x="0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6" name="object 136"/>
          <p:cNvSpPr/>
          <p:nvPr/>
        </p:nvSpPr>
        <p:spPr>
          <a:xfrm>
            <a:off x="6554124" y="5385883"/>
            <a:ext cx="0" cy="29696"/>
          </a:xfrm>
          <a:custGeom>
            <a:avLst/>
            <a:gdLst/>
            <a:ahLst/>
            <a:cxnLst/>
            <a:rect l="l" t="t" r="r" b="b"/>
            <a:pathLst>
              <a:path h="33654">
                <a:moveTo>
                  <a:pt x="0" y="33432"/>
                </a:moveTo>
                <a:lnTo>
                  <a:pt x="0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7" name="object 137"/>
          <p:cNvSpPr/>
          <p:nvPr/>
        </p:nvSpPr>
        <p:spPr>
          <a:xfrm>
            <a:off x="6823990" y="5385883"/>
            <a:ext cx="0" cy="29696"/>
          </a:xfrm>
          <a:custGeom>
            <a:avLst/>
            <a:gdLst/>
            <a:ahLst/>
            <a:cxnLst/>
            <a:rect l="l" t="t" r="r" b="b"/>
            <a:pathLst>
              <a:path h="33654">
                <a:moveTo>
                  <a:pt x="0" y="33432"/>
                </a:moveTo>
                <a:lnTo>
                  <a:pt x="0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8" name="object 138"/>
          <p:cNvSpPr/>
          <p:nvPr/>
        </p:nvSpPr>
        <p:spPr>
          <a:xfrm>
            <a:off x="7093856" y="5385883"/>
            <a:ext cx="0" cy="29696"/>
          </a:xfrm>
          <a:custGeom>
            <a:avLst/>
            <a:gdLst/>
            <a:ahLst/>
            <a:cxnLst/>
            <a:rect l="l" t="t" r="r" b="b"/>
            <a:pathLst>
              <a:path h="33654">
                <a:moveTo>
                  <a:pt x="0" y="33432"/>
                </a:moveTo>
                <a:lnTo>
                  <a:pt x="0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9" name="object 139"/>
          <p:cNvSpPr/>
          <p:nvPr/>
        </p:nvSpPr>
        <p:spPr>
          <a:xfrm>
            <a:off x="7363721" y="5385883"/>
            <a:ext cx="0" cy="29696"/>
          </a:xfrm>
          <a:custGeom>
            <a:avLst/>
            <a:gdLst/>
            <a:ahLst/>
            <a:cxnLst/>
            <a:rect l="l" t="t" r="r" b="b"/>
            <a:pathLst>
              <a:path h="33654">
                <a:moveTo>
                  <a:pt x="0" y="33432"/>
                </a:moveTo>
                <a:lnTo>
                  <a:pt x="0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0" name="object 140"/>
          <p:cNvSpPr/>
          <p:nvPr/>
        </p:nvSpPr>
        <p:spPr>
          <a:xfrm>
            <a:off x="7633670" y="5385883"/>
            <a:ext cx="0" cy="29696"/>
          </a:xfrm>
          <a:custGeom>
            <a:avLst/>
            <a:gdLst/>
            <a:ahLst/>
            <a:cxnLst/>
            <a:rect l="l" t="t" r="r" b="b"/>
            <a:pathLst>
              <a:path h="33654">
                <a:moveTo>
                  <a:pt x="0" y="33432"/>
                </a:moveTo>
                <a:lnTo>
                  <a:pt x="0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1" name="object 141"/>
          <p:cNvSpPr/>
          <p:nvPr/>
        </p:nvSpPr>
        <p:spPr>
          <a:xfrm>
            <a:off x="7902191" y="5385883"/>
            <a:ext cx="0" cy="29696"/>
          </a:xfrm>
          <a:custGeom>
            <a:avLst/>
            <a:gdLst/>
            <a:ahLst/>
            <a:cxnLst/>
            <a:rect l="l" t="t" r="r" b="b"/>
            <a:pathLst>
              <a:path h="33654">
                <a:moveTo>
                  <a:pt x="0" y="33432"/>
                </a:moveTo>
                <a:lnTo>
                  <a:pt x="0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2" name="object 142"/>
          <p:cNvSpPr/>
          <p:nvPr/>
        </p:nvSpPr>
        <p:spPr>
          <a:xfrm>
            <a:off x="8172057" y="5385883"/>
            <a:ext cx="0" cy="29696"/>
          </a:xfrm>
          <a:custGeom>
            <a:avLst/>
            <a:gdLst/>
            <a:ahLst/>
            <a:cxnLst/>
            <a:rect l="l" t="t" r="r" b="b"/>
            <a:pathLst>
              <a:path h="33654">
                <a:moveTo>
                  <a:pt x="0" y="33432"/>
                </a:moveTo>
                <a:lnTo>
                  <a:pt x="0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3" name="object 143"/>
          <p:cNvSpPr/>
          <p:nvPr/>
        </p:nvSpPr>
        <p:spPr>
          <a:xfrm>
            <a:off x="8441922" y="5385883"/>
            <a:ext cx="0" cy="29696"/>
          </a:xfrm>
          <a:custGeom>
            <a:avLst/>
            <a:gdLst/>
            <a:ahLst/>
            <a:cxnLst/>
            <a:rect l="l" t="t" r="r" b="b"/>
            <a:pathLst>
              <a:path h="33654">
                <a:moveTo>
                  <a:pt x="0" y="33432"/>
                </a:moveTo>
                <a:lnTo>
                  <a:pt x="0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4" name="object 144"/>
          <p:cNvSpPr/>
          <p:nvPr/>
        </p:nvSpPr>
        <p:spPr>
          <a:xfrm>
            <a:off x="8711873" y="5385883"/>
            <a:ext cx="0" cy="29696"/>
          </a:xfrm>
          <a:custGeom>
            <a:avLst/>
            <a:gdLst/>
            <a:ahLst/>
            <a:cxnLst/>
            <a:rect l="l" t="t" r="r" b="b"/>
            <a:pathLst>
              <a:path h="33654">
                <a:moveTo>
                  <a:pt x="0" y="33432"/>
                </a:moveTo>
                <a:lnTo>
                  <a:pt x="0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5" name="object 145"/>
          <p:cNvSpPr/>
          <p:nvPr/>
        </p:nvSpPr>
        <p:spPr>
          <a:xfrm>
            <a:off x="8981739" y="5385883"/>
            <a:ext cx="0" cy="29696"/>
          </a:xfrm>
          <a:custGeom>
            <a:avLst/>
            <a:gdLst/>
            <a:ahLst/>
            <a:cxnLst/>
            <a:rect l="l" t="t" r="r" b="b"/>
            <a:pathLst>
              <a:path h="33654">
                <a:moveTo>
                  <a:pt x="0" y="33432"/>
                </a:moveTo>
                <a:lnTo>
                  <a:pt x="0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6" name="object 146"/>
          <p:cNvSpPr/>
          <p:nvPr/>
        </p:nvSpPr>
        <p:spPr>
          <a:xfrm>
            <a:off x="4936191" y="5415382"/>
            <a:ext cx="0" cy="39221"/>
          </a:xfrm>
          <a:custGeom>
            <a:avLst/>
            <a:gdLst/>
            <a:ahLst/>
            <a:cxnLst/>
            <a:rect l="l" t="t" r="r" b="b"/>
            <a:pathLst>
              <a:path h="44450">
                <a:moveTo>
                  <a:pt x="0" y="44100"/>
                </a:moveTo>
                <a:lnTo>
                  <a:pt x="0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7" name="object 147"/>
          <p:cNvSpPr/>
          <p:nvPr/>
        </p:nvSpPr>
        <p:spPr>
          <a:xfrm>
            <a:off x="6284258" y="5415382"/>
            <a:ext cx="0" cy="39221"/>
          </a:xfrm>
          <a:custGeom>
            <a:avLst/>
            <a:gdLst/>
            <a:ahLst/>
            <a:cxnLst/>
            <a:rect l="l" t="t" r="r" b="b"/>
            <a:pathLst>
              <a:path h="44450">
                <a:moveTo>
                  <a:pt x="0" y="44100"/>
                </a:moveTo>
                <a:lnTo>
                  <a:pt x="0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8" name="object 148"/>
          <p:cNvSpPr/>
          <p:nvPr/>
        </p:nvSpPr>
        <p:spPr>
          <a:xfrm>
            <a:off x="7633670" y="5415382"/>
            <a:ext cx="0" cy="39221"/>
          </a:xfrm>
          <a:custGeom>
            <a:avLst/>
            <a:gdLst/>
            <a:ahLst/>
            <a:cxnLst/>
            <a:rect l="l" t="t" r="r" b="b"/>
            <a:pathLst>
              <a:path h="44450">
                <a:moveTo>
                  <a:pt x="0" y="44100"/>
                </a:moveTo>
                <a:lnTo>
                  <a:pt x="0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9" name="object 149"/>
          <p:cNvSpPr/>
          <p:nvPr/>
        </p:nvSpPr>
        <p:spPr>
          <a:xfrm>
            <a:off x="8981739" y="5415382"/>
            <a:ext cx="0" cy="39221"/>
          </a:xfrm>
          <a:custGeom>
            <a:avLst/>
            <a:gdLst/>
            <a:ahLst/>
            <a:cxnLst/>
            <a:rect l="l" t="t" r="r" b="b"/>
            <a:pathLst>
              <a:path h="44450">
                <a:moveTo>
                  <a:pt x="0" y="44100"/>
                </a:moveTo>
                <a:lnTo>
                  <a:pt x="0" y="0"/>
                </a:lnTo>
              </a:path>
            </a:pathLst>
          </a:custGeom>
          <a:ln w="476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0" name="object 150"/>
          <p:cNvSpPr txBox="1"/>
          <p:nvPr/>
        </p:nvSpPr>
        <p:spPr>
          <a:xfrm>
            <a:off x="3411506" y="5320952"/>
            <a:ext cx="91328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971" spc="53" dirty="0">
                <a:solidFill>
                  <a:prstClr val="black"/>
                </a:solidFill>
                <a:latin typeface="Times New Roman"/>
                <a:cs typeface="Times New Roman"/>
              </a:rPr>
              <a:t>1</a:t>
            </a:r>
            <a:endParaRPr sz="971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51" name="object 151"/>
          <p:cNvSpPr txBox="1"/>
          <p:nvPr/>
        </p:nvSpPr>
        <p:spPr>
          <a:xfrm>
            <a:off x="3342929" y="4542356"/>
            <a:ext cx="160244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971" spc="53" dirty="0">
                <a:solidFill>
                  <a:prstClr val="black"/>
                </a:solidFill>
                <a:latin typeface="Times New Roman"/>
                <a:cs typeface="Times New Roman"/>
              </a:rPr>
              <a:t>10</a:t>
            </a:r>
            <a:endParaRPr sz="971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52" name="object 152"/>
          <p:cNvSpPr txBox="1"/>
          <p:nvPr/>
        </p:nvSpPr>
        <p:spPr>
          <a:xfrm>
            <a:off x="3274353" y="3763761"/>
            <a:ext cx="228040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971" spc="53" dirty="0">
                <a:solidFill>
                  <a:prstClr val="black"/>
                </a:solidFill>
                <a:latin typeface="Times New Roman"/>
                <a:cs typeface="Times New Roman"/>
              </a:rPr>
              <a:t>1</a:t>
            </a:r>
            <a:r>
              <a:rPr sz="971" spc="44" dirty="0">
                <a:solidFill>
                  <a:prstClr val="black"/>
                </a:solidFill>
                <a:latin typeface="Times New Roman"/>
                <a:cs typeface="Times New Roman"/>
              </a:rPr>
              <a:t>0</a:t>
            </a:r>
            <a:r>
              <a:rPr sz="971" spc="53" dirty="0">
                <a:solidFill>
                  <a:prstClr val="black"/>
                </a:solidFill>
                <a:latin typeface="Times New Roman"/>
                <a:cs typeface="Times New Roman"/>
              </a:rPr>
              <a:t>0</a:t>
            </a:r>
            <a:endParaRPr sz="971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53" name="object 153"/>
          <p:cNvSpPr txBox="1"/>
          <p:nvPr/>
        </p:nvSpPr>
        <p:spPr>
          <a:xfrm>
            <a:off x="3205777" y="2982501"/>
            <a:ext cx="297516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971" spc="53" dirty="0">
                <a:solidFill>
                  <a:prstClr val="black"/>
                </a:solidFill>
                <a:latin typeface="Times New Roman"/>
                <a:cs typeface="Times New Roman"/>
              </a:rPr>
              <a:t>1</a:t>
            </a:r>
            <a:r>
              <a:rPr sz="971" spc="44" dirty="0">
                <a:solidFill>
                  <a:prstClr val="black"/>
                </a:solidFill>
                <a:latin typeface="Times New Roman"/>
                <a:cs typeface="Times New Roman"/>
              </a:rPr>
              <a:t>0</a:t>
            </a:r>
            <a:r>
              <a:rPr sz="971" spc="53" dirty="0">
                <a:solidFill>
                  <a:prstClr val="black"/>
                </a:solidFill>
                <a:latin typeface="Times New Roman"/>
                <a:cs typeface="Times New Roman"/>
              </a:rPr>
              <a:t>00</a:t>
            </a:r>
            <a:endParaRPr sz="971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54" name="object 154"/>
          <p:cNvSpPr txBox="1"/>
          <p:nvPr/>
        </p:nvSpPr>
        <p:spPr>
          <a:xfrm>
            <a:off x="3069950" y="1425296"/>
            <a:ext cx="433107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971" spc="53" dirty="0">
                <a:solidFill>
                  <a:prstClr val="black"/>
                </a:solidFill>
                <a:latin typeface="Times New Roman"/>
                <a:cs typeface="Times New Roman"/>
              </a:rPr>
              <a:t>1</a:t>
            </a:r>
            <a:r>
              <a:rPr sz="971" spc="35" dirty="0">
                <a:solidFill>
                  <a:prstClr val="black"/>
                </a:solidFill>
                <a:latin typeface="Times New Roman"/>
                <a:cs typeface="Times New Roman"/>
              </a:rPr>
              <a:t>0</a:t>
            </a:r>
            <a:r>
              <a:rPr sz="971" spc="53" dirty="0">
                <a:solidFill>
                  <a:prstClr val="black"/>
                </a:solidFill>
                <a:latin typeface="Times New Roman"/>
                <a:cs typeface="Times New Roman"/>
              </a:rPr>
              <a:t>0</a:t>
            </a:r>
            <a:r>
              <a:rPr sz="971" spc="44" dirty="0">
                <a:solidFill>
                  <a:prstClr val="black"/>
                </a:solidFill>
                <a:latin typeface="Times New Roman"/>
                <a:cs typeface="Times New Roman"/>
              </a:rPr>
              <a:t>0</a:t>
            </a:r>
            <a:r>
              <a:rPr sz="971" spc="53" dirty="0">
                <a:solidFill>
                  <a:prstClr val="black"/>
                </a:solidFill>
                <a:latin typeface="Times New Roman"/>
                <a:cs typeface="Times New Roman"/>
              </a:rPr>
              <a:t>00</a:t>
            </a:r>
            <a:endParaRPr sz="971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55" name="object 155"/>
          <p:cNvSpPr txBox="1"/>
          <p:nvPr/>
        </p:nvSpPr>
        <p:spPr>
          <a:xfrm>
            <a:off x="3541909" y="5506538"/>
            <a:ext cx="91328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971" spc="53" dirty="0">
                <a:solidFill>
                  <a:prstClr val="black"/>
                </a:solidFill>
                <a:latin typeface="Times New Roman"/>
                <a:cs typeface="Times New Roman"/>
              </a:rPr>
              <a:t>0</a:t>
            </a:r>
            <a:endParaRPr sz="971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56" name="object 156"/>
          <p:cNvSpPr txBox="1"/>
          <p:nvPr/>
        </p:nvSpPr>
        <p:spPr>
          <a:xfrm>
            <a:off x="4857492" y="5506538"/>
            <a:ext cx="159124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971" spc="44" dirty="0">
                <a:solidFill>
                  <a:prstClr val="black"/>
                </a:solidFill>
                <a:latin typeface="Times New Roman"/>
                <a:cs typeface="Times New Roman"/>
              </a:rPr>
              <a:t>5</a:t>
            </a:r>
            <a:r>
              <a:rPr sz="971" spc="53" dirty="0">
                <a:solidFill>
                  <a:prstClr val="black"/>
                </a:solidFill>
                <a:latin typeface="Times New Roman"/>
                <a:cs typeface="Times New Roman"/>
              </a:rPr>
              <a:t>0</a:t>
            </a:r>
            <a:endParaRPr sz="971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57" name="object 157"/>
          <p:cNvSpPr txBox="1"/>
          <p:nvPr/>
        </p:nvSpPr>
        <p:spPr>
          <a:xfrm>
            <a:off x="7520747" y="5506538"/>
            <a:ext cx="228040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971" spc="53" dirty="0">
                <a:solidFill>
                  <a:prstClr val="black"/>
                </a:solidFill>
                <a:latin typeface="Times New Roman"/>
                <a:cs typeface="Times New Roman"/>
              </a:rPr>
              <a:t>1</a:t>
            </a:r>
            <a:r>
              <a:rPr sz="971" spc="44" dirty="0">
                <a:solidFill>
                  <a:prstClr val="black"/>
                </a:solidFill>
                <a:latin typeface="Times New Roman"/>
                <a:cs typeface="Times New Roman"/>
              </a:rPr>
              <a:t>5</a:t>
            </a:r>
            <a:r>
              <a:rPr sz="971" spc="53" dirty="0">
                <a:solidFill>
                  <a:prstClr val="black"/>
                </a:solidFill>
                <a:latin typeface="Times New Roman"/>
                <a:cs typeface="Times New Roman"/>
              </a:rPr>
              <a:t>0</a:t>
            </a:r>
            <a:endParaRPr sz="971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58" name="object 158"/>
          <p:cNvSpPr txBox="1"/>
          <p:nvPr/>
        </p:nvSpPr>
        <p:spPr>
          <a:xfrm>
            <a:off x="8868419" y="5506538"/>
            <a:ext cx="228040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971" spc="44" dirty="0">
                <a:solidFill>
                  <a:prstClr val="black"/>
                </a:solidFill>
                <a:latin typeface="Times New Roman"/>
                <a:cs typeface="Times New Roman"/>
              </a:rPr>
              <a:t>2</a:t>
            </a:r>
            <a:r>
              <a:rPr sz="971" spc="53" dirty="0">
                <a:solidFill>
                  <a:prstClr val="black"/>
                </a:solidFill>
                <a:latin typeface="Times New Roman"/>
                <a:cs typeface="Times New Roman"/>
              </a:rPr>
              <a:t>00</a:t>
            </a:r>
            <a:endParaRPr sz="971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59" name="object 159"/>
          <p:cNvSpPr txBox="1"/>
          <p:nvPr/>
        </p:nvSpPr>
        <p:spPr>
          <a:xfrm>
            <a:off x="2863830" y="2840492"/>
            <a:ext cx="153888" cy="1260101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1206" defTabSz="806867">
              <a:lnSpc>
                <a:spcPts val="1196"/>
              </a:lnSpc>
            </a:pPr>
            <a:r>
              <a:rPr sz="1015" spc="71" dirty="0">
                <a:solidFill>
                  <a:prstClr val="black"/>
                </a:solidFill>
                <a:latin typeface="Times New Roman"/>
                <a:cs typeface="Times New Roman"/>
              </a:rPr>
              <a:t>specific </a:t>
            </a:r>
            <a:r>
              <a:rPr sz="1015" spc="88" dirty="0">
                <a:solidFill>
                  <a:prstClr val="black"/>
                </a:solidFill>
                <a:latin typeface="Times New Roman"/>
                <a:cs typeface="Times New Roman"/>
              </a:rPr>
              <a:t>power</a:t>
            </a:r>
            <a:r>
              <a:rPr sz="1015" spc="-49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015" spc="35" dirty="0">
                <a:solidFill>
                  <a:prstClr val="black"/>
                </a:solidFill>
                <a:latin typeface="Times New Roman"/>
                <a:cs typeface="Times New Roman"/>
              </a:rPr>
              <a:t>W/kg</a:t>
            </a:r>
            <a:endParaRPr sz="1015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60" name="object 160"/>
          <p:cNvSpPr txBox="1"/>
          <p:nvPr/>
        </p:nvSpPr>
        <p:spPr>
          <a:xfrm>
            <a:off x="3592149" y="5046093"/>
            <a:ext cx="1342465" cy="128240"/>
          </a:xfrm>
          <a:prstGeom prst="rect">
            <a:avLst/>
          </a:prstGeom>
          <a:solidFill>
            <a:srgbClr val="EFEFEF"/>
          </a:solidFill>
        </p:spPr>
        <p:txBody>
          <a:bodyPr vert="horz" wrap="square" lIns="0" tIns="0" rIns="0" bIns="0" rtlCol="0">
            <a:spAutoFit/>
          </a:bodyPr>
          <a:lstStyle/>
          <a:p>
            <a:pPr marL="879148" defTabSz="806867">
              <a:lnSpc>
                <a:spcPts val="1046"/>
              </a:lnSpc>
            </a:pPr>
            <a:r>
              <a:rPr sz="1059" spc="93" dirty="0">
                <a:solidFill>
                  <a:srgbClr val="FF9900"/>
                </a:solidFill>
                <a:latin typeface="Times New Roman"/>
                <a:cs typeface="Times New Roman"/>
              </a:rPr>
              <a:t>Plomb</a:t>
            </a:r>
            <a:endParaRPr sz="1059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61" name="object 161"/>
          <p:cNvSpPr txBox="1"/>
          <p:nvPr/>
        </p:nvSpPr>
        <p:spPr>
          <a:xfrm>
            <a:off x="3137201" y="2203899"/>
            <a:ext cx="1158128" cy="443613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lnSpc>
                <a:spcPts val="1024"/>
              </a:lnSpc>
              <a:spcBef>
                <a:spcPts val="88"/>
              </a:spcBef>
            </a:pPr>
            <a:r>
              <a:rPr sz="971" spc="49" dirty="0">
                <a:solidFill>
                  <a:prstClr val="black"/>
                </a:solidFill>
                <a:latin typeface="Times New Roman"/>
                <a:cs typeface="Times New Roman"/>
              </a:rPr>
              <a:t>10000</a:t>
            </a:r>
            <a:endParaRPr sz="971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674070" defTabSz="806867">
              <a:lnSpc>
                <a:spcPts val="1129"/>
              </a:lnSpc>
            </a:pPr>
            <a:r>
              <a:rPr sz="1059" spc="93" dirty="0">
                <a:solidFill>
                  <a:srgbClr val="BF0000"/>
                </a:solidFill>
                <a:latin typeface="Times New Roman"/>
                <a:cs typeface="Times New Roman"/>
              </a:rPr>
              <a:t>Plomb</a:t>
            </a:r>
            <a:endParaRPr sz="1059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674070" defTabSz="806867"/>
            <a:r>
              <a:rPr sz="1059" spc="71" dirty="0">
                <a:solidFill>
                  <a:srgbClr val="BF0000"/>
                </a:solidFill>
                <a:latin typeface="Times New Roman"/>
                <a:cs typeface="Times New Roman"/>
              </a:rPr>
              <a:t>spirallé</a:t>
            </a:r>
            <a:endParaRPr sz="1059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62" name="object 162"/>
          <p:cNvSpPr txBox="1"/>
          <p:nvPr/>
        </p:nvSpPr>
        <p:spPr>
          <a:xfrm>
            <a:off x="4331286" y="2875899"/>
            <a:ext cx="380440" cy="174309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1059" spc="-9" dirty="0">
                <a:solidFill>
                  <a:srgbClr val="004489"/>
                </a:solidFill>
                <a:latin typeface="Times New Roman"/>
                <a:cs typeface="Times New Roman"/>
              </a:rPr>
              <a:t>N</a:t>
            </a:r>
            <a:r>
              <a:rPr sz="1059" spc="-4" dirty="0">
                <a:solidFill>
                  <a:srgbClr val="004489"/>
                </a:solidFill>
                <a:latin typeface="Times New Roman"/>
                <a:cs typeface="Times New Roman"/>
              </a:rPr>
              <a:t>i-</a:t>
            </a:r>
            <a:r>
              <a:rPr sz="1059" spc="53" dirty="0">
                <a:solidFill>
                  <a:srgbClr val="004489"/>
                </a:solidFill>
                <a:latin typeface="Times New Roman"/>
                <a:cs typeface="Times New Roman"/>
              </a:rPr>
              <a:t>C</a:t>
            </a:r>
            <a:r>
              <a:rPr sz="1059" spc="115" dirty="0">
                <a:solidFill>
                  <a:srgbClr val="004489"/>
                </a:solidFill>
                <a:latin typeface="Times New Roman"/>
                <a:cs typeface="Times New Roman"/>
              </a:rPr>
              <a:t>d</a:t>
            </a:r>
            <a:endParaRPr sz="1059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63" name="object 163"/>
          <p:cNvSpPr txBox="1"/>
          <p:nvPr/>
        </p:nvSpPr>
        <p:spPr>
          <a:xfrm>
            <a:off x="4904163" y="2967297"/>
            <a:ext cx="410135" cy="174309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1059" spc="-9" dirty="0">
                <a:solidFill>
                  <a:srgbClr val="7E7E7E"/>
                </a:solidFill>
                <a:latin typeface="Times New Roman"/>
                <a:cs typeface="Times New Roman"/>
              </a:rPr>
              <a:t>N</a:t>
            </a:r>
            <a:r>
              <a:rPr sz="1059" spc="-4" dirty="0">
                <a:solidFill>
                  <a:srgbClr val="7E7E7E"/>
                </a:solidFill>
                <a:latin typeface="Times New Roman"/>
                <a:cs typeface="Times New Roman"/>
              </a:rPr>
              <a:t>i-</a:t>
            </a:r>
            <a:r>
              <a:rPr sz="1059" spc="-66" dirty="0">
                <a:solidFill>
                  <a:srgbClr val="7E7E7E"/>
                </a:solidFill>
                <a:latin typeface="Times New Roman"/>
                <a:cs typeface="Times New Roman"/>
              </a:rPr>
              <a:t>M</a:t>
            </a:r>
            <a:r>
              <a:rPr sz="1059" spc="-4" dirty="0">
                <a:solidFill>
                  <a:srgbClr val="7E7E7E"/>
                </a:solidFill>
                <a:latin typeface="Times New Roman"/>
                <a:cs typeface="Times New Roman"/>
              </a:rPr>
              <a:t>H</a:t>
            </a:r>
            <a:endParaRPr sz="1059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64" name="object 164"/>
          <p:cNvSpPr txBox="1"/>
          <p:nvPr/>
        </p:nvSpPr>
        <p:spPr>
          <a:xfrm>
            <a:off x="6691212" y="3983883"/>
            <a:ext cx="901513" cy="174309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1059" spc="49" dirty="0">
                <a:solidFill>
                  <a:srgbClr val="66CCFF"/>
                </a:solidFill>
                <a:latin typeface="Times New Roman"/>
                <a:cs typeface="Times New Roman"/>
              </a:rPr>
              <a:t>LiM-Polymère</a:t>
            </a:r>
            <a:endParaRPr sz="1059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65" name="object 165"/>
          <p:cNvSpPr txBox="1"/>
          <p:nvPr/>
        </p:nvSpPr>
        <p:spPr>
          <a:xfrm>
            <a:off x="3592149" y="1928812"/>
            <a:ext cx="1342465" cy="118366"/>
          </a:xfrm>
          <a:prstGeom prst="rect">
            <a:avLst/>
          </a:prstGeom>
          <a:solidFill>
            <a:srgbClr val="EFEFEF"/>
          </a:solidFill>
        </p:spPr>
        <p:txBody>
          <a:bodyPr vert="horz" wrap="square" lIns="0" tIns="0" rIns="0" bIns="0" rtlCol="0">
            <a:spAutoFit/>
          </a:bodyPr>
          <a:lstStyle/>
          <a:p>
            <a:pPr marL="45386" defTabSz="806867">
              <a:lnSpc>
                <a:spcPts val="918"/>
              </a:lnSpc>
            </a:pPr>
            <a:r>
              <a:rPr sz="1059" spc="101" dirty="0">
                <a:solidFill>
                  <a:srgbClr val="00AF50"/>
                </a:solidFill>
                <a:latin typeface="Times New Roman"/>
                <a:cs typeface="Times New Roman"/>
              </a:rPr>
              <a:t>Super</a:t>
            </a:r>
            <a:endParaRPr sz="1059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66" name="object 166"/>
          <p:cNvSpPr txBox="1"/>
          <p:nvPr/>
        </p:nvSpPr>
        <p:spPr>
          <a:xfrm>
            <a:off x="3592149" y="2034081"/>
            <a:ext cx="1342465" cy="174309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45386" defTabSz="806867">
              <a:spcBef>
                <a:spcPts val="88"/>
              </a:spcBef>
            </a:pPr>
            <a:r>
              <a:rPr sz="1059" spc="101" dirty="0">
                <a:solidFill>
                  <a:srgbClr val="00AF50"/>
                </a:solidFill>
                <a:latin typeface="Times New Roman"/>
                <a:cs typeface="Times New Roman"/>
              </a:rPr>
              <a:t>capacités</a:t>
            </a:r>
            <a:endParaRPr sz="1059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67" name="object 167"/>
          <p:cNvSpPr txBox="1"/>
          <p:nvPr/>
        </p:nvSpPr>
        <p:spPr>
          <a:xfrm>
            <a:off x="4938292" y="3486738"/>
            <a:ext cx="1344146" cy="138990"/>
          </a:xfrm>
          <a:prstGeom prst="rect">
            <a:avLst/>
          </a:prstGeom>
          <a:solidFill>
            <a:srgbClr val="EFEFEF"/>
          </a:solidFill>
        </p:spPr>
        <p:txBody>
          <a:bodyPr vert="horz" wrap="square" lIns="0" tIns="10646" rIns="0" bIns="0" rtlCol="0">
            <a:spAutoFit/>
          </a:bodyPr>
          <a:lstStyle/>
          <a:p>
            <a:pPr marL="768764" defTabSz="806867">
              <a:lnSpc>
                <a:spcPts val="971"/>
              </a:lnSpc>
              <a:spcBef>
                <a:spcPts val="84"/>
              </a:spcBef>
            </a:pPr>
            <a:r>
              <a:rPr sz="1059" spc="53" dirty="0">
                <a:solidFill>
                  <a:srgbClr val="CC00FF"/>
                </a:solidFill>
                <a:latin typeface="Times New Roman"/>
                <a:cs typeface="Times New Roman"/>
              </a:rPr>
              <a:t>Na </a:t>
            </a:r>
            <a:r>
              <a:rPr sz="1059" spc="-4" dirty="0">
                <a:solidFill>
                  <a:srgbClr val="CC00FF"/>
                </a:solidFill>
                <a:latin typeface="Times New Roman"/>
                <a:cs typeface="Times New Roman"/>
              </a:rPr>
              <a:t>/</a:t>
            </a:r>
            <a:r>
              <a:rPr sz="1059" spc="-49" dirty="0">
                <a:solidFill>
                  <a:srgbClr val="CC00FF"/>
                </a:solidFill>
                <a:latin typeface="Times New Roman"/>
                <a:cs typeface="Times New Roman"/>
              </a:rPr>
              <a:t> </a:t>
            </a:r>
            <a:r>
              <a:rPr sz="1059" spc="9" dirty="0">
                <a:solidFill>
                  <a:srgbClr val="CC00FF"/>
                </a:solidFill>
                <a:latin typeface="Times New Roman"/>
                <a:cs typeface="Times New Roman"/>
              </a:rPr>
              <a:t>NiCl</a:t>
            </a:r>
            <a:endParaRPr sz="1059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68" name="object 168"/>
          <p:cNvSpPr txBox="1"/>
          <p:nvPr/>
        </p:nvSpPr>
        <p:spPr>
          <a:xfrm>
            <a:off x="6260094" y="3563071"/>
            <a:ext cx="61632" cy="120500"/>
          </a:xfrm>
          <a:prstGeom prst="rect">
            <a:avLst/>
          </a:prstGeom>
        </p:spPr>
        <p:txBody>
          <a:bodyPr vert="horz" wrap="square" lIns="0" tIns="11766" rIns="0" bIns="0" rtlCol="0">
            <a:spAutoFit/>
          </a:bodyPr>
          <a:lstStyle/>
          <a:p>
            <a:pPr defTabSz="806867">
              <a:spcBef>
                <a:spcPts val="93"/>
              </a:spcBef>
            </a:pPr>
            <a:r>
              <a:rPr sz="706" spc="40" dirty="0">
                <a:solidFill>
                  <a:srgbClr val="CC00FF"/>
                </a:solidFill>
                <a:latin typeface="Times New Roman"/>
                <a:cs typeface="Times New Roman"/>
              </a:rPr>
              <a:t>2</a:t>
            </a:r>
            <a:endParaRPr sz="706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69" name="object 169"/>
          <p:cNvSpPr txBox="1"/>
          <p:nvPr/>
        </p:nvSpPr>
        <p:spPr>
          <a:xfrm>
            <a:off x="5806468" y="2857086"/>
            <a:ext cx="450476" cy="201933"/>
          </a:xfrm>
          <a:prstGeom prst="rect">
            <a:avLst/>
          </a:prstGeom>
        </p:spPr>
        <p:txBody>
          <a:bodyPr vert="horz" wrap="square" lIns="0" tIns="11766" rIns="0" bIns="0" rtlCol="0">
            <a:spAutoFit/>
          </a:bodyPr>
          <a:lstStyle/>
          <a:p>
            <a:pPr marL="11206" defTabSz="806867">
              <a:spcBef>
                <a:spcPts val="93"/>
              </a:spcBef>
            </a:pPr>
            <a:r>
              <a:rPr sz="1235" dirty="0">
                <a:solidFill>
                  <a:prstClr val="black"/>
                </a:solidFill>
                <a:latin typeface="Times New Roman"/>
                <a:cs typeface="Times New Roman"/>
              </a:rPr>
              <a:t>L</a:t>
            </a:r>
            <a:r>
              <a:rPr sz="1235" spc="-4" dirty="0">
                <a:solidFill>
                  <a:prstClr val="black"/>
                </a:solidFill>
                <a:latin typeface="Times New Roman"/>
                <a:cs typeface="Times New Roman"/>
              </a:rPr>
              <a:t>i-i</a:t>
            </a:r>
            <a:r>
              <a:rPr sz="1235" spc="137" dirty="0">
                <a:solidFill>
                  <a:prstClr val="black"/>
                </a:solidFill>
                <a:latin typeface="Times New Roman"/>
                <a:cs typeface="Times New Roman"/>
              </a:rPr>
              <a:t>on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70" name="object 170"/>
          <p:cNvSpPr txBox="1"/>
          <p:nvPr/>
        </p:nvSpPr>
        <p:spPr>
          <a:xfrm>
            <a:off x="4938292" y="1928812"/>
            <a:ext cx="1344146" cy="128240"/>
          </a:xfrm>
          <a:prstGeom prst="rect">
            <a:avLst/>
          </a:prstGeom>
          <a:solidFill>
            <a:srgbClr val="EFEFEF"/>
          </a:solidFill>
        </p:spPr>
        <p:txBody>
          <a:bodyPr vert="horz" wrap="square" lIns="0" tIns="0" rIns="0" bIns="0" rtlCol="0">
            <a:spAutoFit/>
          </a:bodyPr>
          <a:lstStyle/>
          <a:p>
            <a:pPr marL="370934" defTabSz="806867">
              <a:lnSpc>
                <a:spcPts val="1046"/>
              </a:lnSpc>
            </a:pPr>
            <a:r>
              <a:rPr sz="1059" spc="35" dirty="0">
                <a:solidFill>
                  <a:prstClr val="black"/>
                </a:solidFill>
                <a:latin typeface="Times New Roman"/>
                <a:cs typeface="Times New Roman"/>
              </a:rPr>
              <a:t>Li-ion</a:t>
            </a:r>
            <a:endParaRPr sz="1059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71" name="object 171"/>
          <p:cNvSpPr txBox="1"/>
          <p:nvPr/>
        </p:nvSpPr>
        <p:spPr>
          <a:xfrm>
            <a:off x="4938292" y="2061001"/>
            <a:ext cx="1344146" cy="174309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26073" defTabSz="806867">
              <a:spcBef>
                <a:spcPts val="88"/>
              </a:spcBef>
            </a:pPr>
            <a:r>
              <a:rPr sz="1059" spc="115" dirty="0">
                <a:solidFill>
                  <a:prstClr val="black"/>
                </a:solidFill>
                <a:latin typeface="Times New Roman"/>
                <a:cs typeface="Times New Roman"/>
              </a:rPr>
              <a:t>de</a:t>
            </a:r>
            <a:r>
              <a:rPr sz="1059" spc="26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059" spc="115" dirty="0">
                <a:solidFill>
                  <a:prstClr val="black"/>
                </a:solidFill>
                <a:latin typeface="Times New Roman"/>
                <a:cs typeface="Times New Roman"/>
              </a:rPr>
              <a:t>puissance</a:t>
            </a:r>
            <a:endParaRPr sz="1059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72" name="object 172"/>
          <p:cNvSpPr/>
          <p:nvPr/>
        </p:nvSpPr>
        <p:spPr>
          <a:xfrm>
            <a:off x="2250141" y="2513254"/>
            <a:ext cx="574301" cy="1679762"/>
          </a:xfrm>
          <a:custGeom>
            <a:avLst/>
            <a:gdLst/>
            <a:ahLst/>
            <a:cxnLst/>
            <a:rect l="l" t="t" r="r" b="b"/>
            <a:pathLst>
              <a:path w="650875" h="1903729">
                <a:moveTo>
                  <a:pt x="650748" y="475488"/>
                </a:moveTo>
                <a:lnTo>
                  <a:pt x="0" y="475488"/>
                </a:lnTo>
                <a:lnTo>
                  <a:pt x="324612" y="0"/>
                </a:lnTo>
                <a:lnTo>
                  <a:pt x="650748" y="475488"/>
                </a:lnTo>
                <a:close/>
              </a:path>
              <a:path w="650875" h="1903729">
                <a:moveTo>
                  <a:pt x="487680" y="1903476"/>
                </a:moveTo>
                <a:lnTo>
                  <a:pt x="163068" y="1903476"/>
                </a:lnTo>
                <a:lnTo>
                  <a:pt x="163068" y="475488"/>
                </a:lnTo>
                <a:lnTo>
                  <a:pt x="487680" y="475488"/>
                </a:lnTo>
                <a:lnTo>
                  <a:pt x="487680" y="1903476"/>
                </a:lnTo>
                <a:close/>
              </a:path>
            </a:pathLst>
          </a:custGeom>
          <a:solidFill>
            <a:srgbClr val="DB3305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3" name="object 173"/>
          <p:cNvSpPr/>
          <p:nvPr/>
        </p:nvSpPr>
        <p:spPr>
          <a:xfrm>
            <a:off x="2244762" y="2507877"/>
            <a:ext cx="584947" cy="1690407"/>
          </a:xfrm>
          <a:custGeom>
            <a:avLst/>
            <a:gdLst/>
            <a:ahLst/>
            <a:cxnLst/>
            <a:rect l="l" t="t" r="r" b="b"/>
            <a:pathLst>
              <a:path w="662940" h="1915795">
                <a:moveTo>
                  <a:pt x="161544" y="487680"/>
                </a:moveTo>
                <a:lnTo>
                  <a:pt x="4572" y="487680"/>
                </a:lnTo>
                <a:lnTo>
                  <a:pt x="1524" y="486156"/>
                </a:lnTo>
                <a:lnTo>
                  <a:pt x="1524" y="484632"/>
                </a:lnTo>
                <a:lnTo>
                  <a:pt x="0" y="481584"/>
                </a:lnTo>
                <a:lnTo>
                  <a:pt x="0" y="480060"/>
                </a:lnTo>
                <a:lnTo>
                  <a:pt x="1524" y="478536"/>
                </a:lnTo>
                <a:lnTo>
                  <a:pt x="324612" y="1524"/>
                </a:lnTo>
                <a:lnTo>
                  <a:pt x="326136" y="0"/>
                </a:lnTo>
                <a:lnTo>
                  <a:pt x="335280" y="0"/>
                </a:lnTo>
                <a:lnTo>
                  <a:pt x="335280" y="1524"/>
                </a:lnTo>
                <a:lnTo>
                  <a:pt x="340489" y="9144"/>
                </a:lnTo>
                <a:lnTo>
                  <a:pt x="324612" y="9144"/>
                </a:lnTo>
                <a:lnTo>
                  <a:pt x="329971" y="16957"/>
                </a:lnTo>
                <a:lnTo>
                  <a:pt x="18405" y="475488"/>
                </a:lnTo>
                <a:lnTo>
                  <a:pt x="6096" y="475488"/>
                </a:lnTo>
                <a:lnTo>
                  <a:pt x="12192" y="484632"/>
                </a:lnTo>
                <a:lnTo>
                  <a:pt x="161544" y="484632"/>
                </a:lnTo>
                <a:lnTo>
                  <a:pt x="161544" y="487680"/>
                </a:lnTo>
                <a:close/>
              </a:path>
              <a:path w="662940" h="1915795">
                <a:moveTo>
                  <a:pt x="329971" y="16957"/>
                </a:moveTo>
                <a:lnTo>
                  <a:pt x="324612" y="9144"/>
                </a:lnTo>
                <a:lnTo>
                  <a:pt x="335280" y="9144"/>
                </a:lnTo>
                <a:lnTo>
                  <a:pt x="329971" y="16957"/>
                </a:lnTo>
                <a:close/>
              </a:path>
              <a:path w="662940" h="1915795">
                <a:moveTo>
                  <a:pt x="650748" y="484632"/>
                </a:moveTo>
                <a:lnTo>
                  <a:pt x="329971" y="16957"/>
                </a:lnTo>
                <a:lnTo>
                  <a:pt x="335280" y="9144"/>
                </a:lnTo>
                <a:lnTo>
                  <a:pt x="340489" y="9144"/>
                </a:lnTo>
                <a:lnTo>
                  <a:pt x="659332" y="475488"/>
                </a:lnTo>
                <a:lnTo>
                  <a:pt x="656844" y="475488"/>
                </a:lnTo>
                <a:lnTo>
                  <a:pt x="650748" y="484632"/>
                </a:lnTo>
                <a:close/>
              </a:path>
              <a:path w="662940" h="1915795">
                <a:moveTo>
                  <a:pt x="12192" y="484632"/>
                </a:moveTo>
                <a:lnTo>
                  <a:pt x="6096" y="475488"/>
                </a:lnTo>
                <a:lnTo>
                  <a:pt x="18405" y="475488"/>
                </a:lnTo>
                <a:lnTo>
                  <a:pt x="12192" y="484632"/>
                </a:lnTo>
                <a:close/>
              </a:path>
              <a:path w="662940" h="1915795">
                <a:moveTo>
                  <a:pt x="161544" y="484632"/>
                </a:moveTo>
                <a:lnTo>
                  <a:pt x="12192" y="484632"/>
                </a:lnTo>
                <a:lnTo>
                  <a:pt x="18405" y="475488"/>
                </a:lnTo>
                <a:lnTo>
                  <a:pt x="172212" y="475488"/>
                </a:lnTo>
                <a:lnTo>
                  <a:pt x="175260" y="478536"/>
                </a:lnTo>
                <a:lnTo>
                  <a:pt x="175260" y="481584"/>
                </a:lnTo>
                <a:lnTo>
                  <a:pt x="161544" y="481584"/>
                </a:lnTo>
                <a:lnTo>
                  <a:pt x="161544" y="484632"/>
                </a:lnTo>
                <a:close/>
              </a:path>
              <a:path w="662940" h="1915795">
                <a:moveTo>
                  <a:pt x="487680" y="1909572"/>
                </a:moveTo>
                <a:lnTo>
                  <a:pt x="487680" y="478536"/>
                </a:lnTo>
                <a:lnTo>
                  <a:pt x="490728" y="475488"/>
                </a:lnTo>
                <a:lnTo>
                  <a:pt x="644476" y="475488"/>
                </a:lnTo>
                <a:lnTo>
                  <a:pt x="648657" y="481584"/>
                </a:lnTo>
                <a:lnTo>
                  <a:pt x="499872" y="481584"/>
                </a:lnTo>
                <a:lnTo>
                  <a:pt x="493776" y="487680"/>
                </a:lnTo>
                <a:lnTo>
                  <a:pt x="499872" y="487680"/>
                </a:lnTo>
                <a:lnTo>
                  <a:pt x="499872" y="1901952"/>
                </a:lnTo>
                <a:lnTo>
                  <a:pt x="493776" y="1901952"/>
                </a:lnTo>
                <a:lnTo>
                  <a:pt x="487680" y="1909572"/>
                </a:lnTo>
                <a:close/>
              </a:path>
              <a:path w="662940" h="1915795">
                <a:moveTo>
                  <a:pt x="661416" y="484632"/>
                </a:moveTo>
                <a:lnTo>
                  <a:pt x="650748" y="484632"/>
                </a:lnTo>
                <a:lnTo>
                  <a:pt x="656844" y="475488"/>
                </a:lnTo>
                <a:lnTo>
                  <a:pt x="659332" y="475488"/>
                </a:lnTo>
                <a:lnTo>
                  <a:pt x="661416" y="478536"/>
                </a:lnTo>
                <a:lnTo>
                  <a:pt x="662940" y="480060"/>
                </a:lnTo>
                <a:lnTo>
                  <a:pt x="662940" y="481584"/>
                </a:lnTo>
                <a:lnTo>
                  <a:pt x="661416" y="484632"/>
                </a:lnTo>
                <a:close/>
              </a:path>
              <a:path w="662940" h="1915795">
                <a:moveTo>
                  <a:pt x="498348" y="1915668"/>
                </a:moveTo>
                <a:lnTo>
                  <a:pt x="164592" y="1915668"/>
                </a:lnTo>
                <a:lnTo>
                  <a:pt x="161544" y="1912620"/>
                </a:lnTo>
                <a:lnTo>
                  <a:pt x="161544" y="481584"/>
                </a:lnTo>
                <a:lnTo>
                  <a:pt x="169164" y="487680"/>
                </a:lnTo>
                <a:lnTo>
                  <a:pt x="175260" y="487680"/>
                </a:lnTo>
                <a:lnTo>
                  <a:pt x="175260" y="1901952"/>
                </a:lnTo>
                <a:lnTo>
                  <a:pt x="169164" y="1901952"/>
                </a:lnTo>
                <a:lnTo>
                  <a:pt x="175260" y="1909572"/>
                </a:lnTo>
                <a:lnTo>
                  <a:pt x="499872" y="1909572"/>
                </a:lnTo>
                <a:lnTo>
                  <a:pt x="499872" y="1912620"/>
                </a:lnTo>
                <a:lnTo>
                  <a:pt x="498348" y="1915668"/>
                </a:lnTo>
                <a:close/>
              </a:path>
              <a:path w="662940" h="1915795">
                <a:moveTo>
                  <a:pt x="175260" y="487680"/>
                </a:moveTo>
                <a:lnTo>
                  <a:pt x="169164" y="487680"/>
                </a:lnTo>
                <a:lnTo>
                  <a:pt x="161544" y="481584"/>
                </a:lnTo>
                <a:lnTo>
                  <a:pt x="175260" y="481584"/>
                </a:lnTo>
                <a:lnTo>
                  <a:pt x="175260" y="487680"/>
                </a:lnTo>
                <a:close/>
              </a:path>
              <a:path w="662940" h="1915795">
                <a:moveTo>
                  <a:pt x="499872" y="487680"/>
                </a:moveTo>
                <a:lnTo>
                  <a:pt x="493776" y="487680"/>
                </a:lnTo>
                <a:lnTo>
                  <a:pt x="499872" y="481584"/>
                </a:lnTo>
                <a:lnTo>
                  <a:pt x="499872" y="487680"/>
                </a:lnTo>
                <a:close/>
              </a:path>
              <a:path w="662940" h="1915795">
                <a:moveTo>
                  <a:pt x="658368" y="487680"/>
                </a:moveTo>
                <a:lnTo>
                  <a:pt x="499872" y="487680"/>
                </a:lnTo>
                <a:lnTo>
                  <a:pt x="499872" y="481584"/>
                </a:lnTo>
                <a:lnTo>
                  <a:pt x="648657" y="481584"/>
                </a:lnTo>
                <a:lnTo>
                  <a:pt x="650748" y="484632"/>
                </a:lnTo>
                <a:lnTo>
                  <a:pt x="661416" y="484632"/>
                </a:lnTo>
                <a:lnTo>
                  <a:pt x="661416" y="486156"/>
                </a:lnTo>
                <a:lnTo>
                  <a:pt x="658368" y="487680"/>
                </a:lnTo>
                <a:close/>
              </a:path>
              <a:path w="662940" h="1915795">
                <a:moveTo>
                  <a:pt x="175260" y="1909572"/>
                </a:moveTo>
                <a:lnTo>
                  <a:pt x="169164" y="1901952"/>
                </a:lnTo>
                <a:lnTo>
                  <a:pt x="175260" y="1901952"/>
                </a:lnTo>
                <a:lnTo>
                  <a:pt x="175260" y="1909572"/>
                </a:lnTo>
                <a:close/>
              </a:path>
              <a:path w="662940" h="1915795">
                <a:moveTo>
                  <a:pt x="487680" y="1909572"/>
                </a:moveTo>
                <a:lnTo>
                  <a:pt x="175260" y="1909572"/>
                </a:lnTo>
                <a:lnTo>
                  <a:pt x="175260" y="1901952"/>
                </a:lnTo>
                <a:lnTo>
                  <a:pt x="487680" y="1901952"/>
                </a:lnTo>
                <a:lnTo>
                  <a:pt x="487680" y="1909572"/>
                </a:lnTo>
                <a:close/>
              </a:path>
              <a:path w="662940" h="1915795">
                <a:moveTo>
                  <a:pt x="499872" y="1909572"/>
                </a:moveTo>
                <a:lnTo>
                  <a:pt x="487680" y="1909572"/>
                </a:lnTo>
                <a:lnTo>
                  <a:pt x="493776" y="1901952"/>
                </a:lnTo>
                <a:lnTo>
                  <a:pt x="499872" y="1901952"/>
                </a:lnTo>
                <a:lnTo>
                  <a:pt x="499872" y="1909572"/>
                </a:lnTo>
                <a:close/>
              </a:path>
            </a:pathLst>
          </a:custGeom>
          <a:solidFill>
            <a:srgbClr val="FF33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4" name="object 174"/>
          <p:cNvSpPr txBox="1"/>
          <p:nvPr/>
        </p:nvSpPr>
        <p:spPr>
          <a:xfrm>
            <a:off x="2416857" y="2860585"/>
            <a:ext cx="230832" cy="1163731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1206" defTabSz="806867">
              <a:lnSpc>
                <a:spcPts val="1822"/>
              </a:lnSpc>
            </a:pPr>
            <a:r>
              <a:rPr sz="1588" dirty="0">
                <a:solidFill>
                  <a:srgbClr val="F2F9A8"/>
                </a:solidFill>
                <a:latin typeface="Times New Roman"/>
                <a:cs typeface="Times New Roman"/>
              </a:rPr>
              <a:t>P</a:t>
            </a:r>
            <a:r>
              <a:rPr sz="1588" spc="-4" dirty="0">
                <a:solidFill>
                  <a:srgbClr val="F2F9A8"/>
                </a:solidFill>
                <a:latin typeface="Times New Roman"/>
                <a:cs typeface="Times New Roman"/>
              </a:rPr>
              <a:t>U</a:t>
            </a:r>
            <a:r>
              <a:rPr sz="1588" dirty="0">
                <a:solidFill>
                  <a:srgbClr val="F2F9A8"/>
                </a:solidFill>
                <a:latin typeface="Times New Roman"/>
                <a:cs typeface="Times New Roman"/>
              </a:rPr>
              <a:t>I</a:t>
            </a:r>
            <a:r>
              <a:rPr sz="1588" spc="-13" dirty="0">
                <a:solidFill>
                  <a:srgbClr val="F2F9A8"/>
                </a:solidFill>
                <a:latin typeface="Times New Roman"/>
                <a:cs typeface="Times New Roman"/>
              </a:rPr>
              <a:t>S</a:t>
            </a:r>
            <a:r>
              <a:rPr sz="1588" spc="4" dirty="0">
                <a:solidFill>
                  <a:srgbClr val="F2F9A8"/>
                </a:solidFill>
                <a:latin typeface="Times New Roman"/>
                <a:cs typeface="Times New Roman"/>
              </a:rPr>
              <a:t>S</a:t>
            </a:r>
            <a:r>
              <a:rPr sz="1588" spc="-4" dirty="0">
                <a:solidFill>
                  <a:srgbClr val="F2F9A8"/>
                </a:solidFill>
                <a:latin typeface="Times New Roman"/>
                <a:cs typeface="Times New Roman"/>
              </a:rPr>
              <a:t>ANC</a:t>
            </a:r>
            <a:r>
              <a:rPr sz="1588" dirty="0">
                <a:solidFill>
                  <a:srgbClr val="F2F9A8"/>
                </a:solidFill>
                <a:latin typeface="Times New Roman"/>
                <a:cs typeface="Times New Roman"/>
              </a:rPr>
              <a:t>E</a:t>
            </a:r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75" name="object 175"/>
          <p:cNvSpPr/>
          <p:nvPr/>
        </p:nvSpPr>
        <p:spPr>
          <a:xfrm>
            <a:off x="5153361" y="5809129"/>
            <a:ext cx="2487706" cy="403412"/>
          </a:xfrm>
          <a:custGeom>
            <a:avLst/>
            <a:gdLst/>
            <a:ahLst/>
            <a:cxnLst/>
            <a:rect l="l" t="t" r="r" b="b"/>
            <a:pathLst>
              <a:path w="2819400" h="457200">
                <a:moveTo>
                  <a:pt x="2115312" y="457200"/>
                </a:moveTo>
                <a:lnTo>
                  <a:pt x="2115312" y="342900"/>
                </a:lnTo>
                <a:lnTo>
                  <a:pt x="0" y="342900"/>
                </a:lnTo>
                <a:lnTo>
                  <a:pt x="0" y="114300"/>
                </a:lnTo>
                <a:lnTo>
                  <a:pt x="2115312" y="114300"/>
                </a:lnTo>
                <a:lnTo>
                  <a:pt x="2115312" y="0"/>
                </a:lnTo>
                <a:lnTo>
                  <a:pt x="2819400" y="228600"/>
                </a:lnTo>
                <a:lnTo>
                  <a:pt x="2115312" y="457200"/>
                </a:lnTo>
                <a:close/>
              </a:path>
            </a:pathLst>
          </a:custGeom>
          <a:solidFill>
            <a:srgbClr val="DB3305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6" name="object 176"/>
          <p:cNvSpPr/>
          <p:nvPr/>
        </p:nvSpPr>
        <p:spPr>
          <a:xfrm>
            <a:off x="5147981" y="5803750"/>
            <a:ext cx="2498912" cy="414618"/>
          </a:xfrm>
          <a:custGeom>
            <a:avLst/>
            <a:gdLst/>
            <a:ahLst/>
            <a:cxnLst/>
            <a:rect l="l" t="t" r="r" b="b"/>
            <a:pathLst>
              <a:path w="2832100" h="469900">
                <a:moveTo>
                  <a:pt x="2113788" y="120396"/>
                </a:moveTo>
                <a:lnTo>
                  <a:pt x="2113788" y="4572"/>
                </a:lnTo>
                <a:lnTo>
                  <a:pt x="2118360" y="0"/>
                </a:lnTo>
                <a:lnTo>
                  <a:pt x="2122932" y="0"/>
                </a:lnTo>
                <a:lnTo>
                  <a:pt x="2141707" y="6096"/>
                </a:lnTo>
                <a:lnTo>
                  <a:pt x="2127504" y="6096"/>
                </a:lnTo>
                <a:lnTo>
                  <a:pt x="2118360" y="12192"/>
                </a:lnTo>
                <a:lnTo>
                  <a:pt x="2127504" y="15154"/>
                </a:lnTo>
                <a:lnTo>
                  <a:pt x="2127504" y="114300"/>
                </a:lnTo>
                <a:lnTo>
                  <a:pt x="2121408" y="114300"/>
                </a:lnTo>
                <a:lnTo>
                  <a:pt x="2113788" y="120396"/>
                </a:lnTo>
                <a:close/>
              </a:path>
              <a:path w="2832100" h="469900">
                <a:moveTo>
                  <a:pt x="2127504" y="15154"/>
                </a:moveTo>
                <a:lnTo>
                  <a:pt x="2118360" y="12192"/>
                </a:lnTo>
                <a:lnTo>
                  <a:pt x="2127504" y="6096"/>
                </a:lnTo>
                <a:lnTo>
                  <a:pt x="2127504" y="15154"/>
                </a:lnTo>
                <a:close/>
              </a:path>
              <a:path w="2832100" h="469900">
                <a:moveTo>
                  <a:pt x="2805155" y="234696"/>
                </a:moveTo>
                <a:lnTo>
                  <a:pt x="2127504" y="15154"/>
                </a:lnTo>
                <a:lnTo>
                  <a:pt x="2127504" y="6096"/>
                </a:lnTo>
                <a:lnTo>
                  <a:pt x="2141707" y="6096"/>
                </a:lnTo>
                <a:lnTo>
                  <a:pt x="2827020" y="228600"/>
                </a:lnTo>
                <a:lnTo>
                  <a:pt x="2823972" y="228600"/>
                </a:lnTo>
                <a:lnTo>
                  <a:pt x="2805155" y="234696"/>
                </a:lnTo>
                <a:close/>
              </a:path>
              <a:path w="2832100" h="469900">
                <a:moveTo>
                  <a:pt x="2113788" y="355092"/>
                </a:moveTo>
                <a:lnTo>
                  <a:pt x="3048" y="355092"/>
                </a:lnTo>
                <a:lnTo>
                  <a:pt x="0" y="352044"/>
                </a:lnTo>
                <a:lnTo>
                  <a:pt x="0" y="117348"/>
                </a:lnTo>
                <a:lnTo>
                  <a:pt x="3048" y="114300"/>
                </a:lnTo>
                <a:lnTo>
                  <a:pt x="2113788" y="114300"/>
                </a:lnTo>
                <a:lnTo>
                  <a:pt x="2113788" y="120396"/>
                </a:lnTo>
                <a:lnTo>
                  <a:pt x="12192" y="120396"/>
                </a:lnTo>
                <a:lnTo>
                  <a:pt x="6096" y="126492"/>
                </a:lnTo>
                <a:lnTo>
                  <a:pt x="12192" y="126492"/>
                </a:lnTo>
                <a:lnTo>
                  <a:pt x="12192" y="342900"/>
                </a:lnTo>
                <a:lnTo>
                  <a:pt x="6096" y="342900"/>
                </a:lnTo>
                <a:lnTo>
                  <a:pt x="12192" y="348996"/>
                </a:lnTo>
                <a:lnTo>
                  <a:pt x="2113788" y="348996"/>
                </a:lnTo>
                <a:lnTo>
                  <a:pt x="2113788" y="355092"/>
                </a:lnTo>
                <a:close/>
              </a:path>
              <a:path w="2832100" h="469900">
                <a:moveTo>
                  <a:pt x="2124456" y="126492"/>
                </a:moveTo>
                <a:lnTo>
                  <a:pt x="12192" y="126492"/>
                </a:lnTo>
                <a:lnTo>
                  <a:pt x="12192" y="120396"/>
                </a:lnTo>
                <a:lnTo>
                  <a:pt x="2113788" y="120396"/>
                </a:lnTo>
                <a:lnTo>
                  <a:pt x="2121408" y="114300"/>
                </a:lnTo>
                <a:lnTo>
                  <a:pt x="2127504" y="114300"/>
                </a:lnTo>
                <a:lnTo>
                  <a:pt x="2127504" y="124968"/>
                </a:lnTo>
                <a:lnTo>
                  <a:pt x="2124456" y="126492"/>
                </a:lnTo>
                <a:close/>
              </a:path>
              <a:path w="2832100" h="469900">
                <a:moveTo>
                  <a:pt x="12192" y="126492"/>
                </a:moveTo>
                <a:lnTo>
                  <a:pt x="6096" y="126492"/>
                </a:lnTo>
                <a:lnTo>
                  <a:pt x="12192" y="120396"/>
                </a:lnTo>
                <a:lnTo>
                  <a:pt x="12192" y="126492"/>
                </a:lnTo>
                <a:close/>
              </a:path>
              <a:path w="2832100" h="469900">
                <a:moveTo>
                  <a:pt x="2823972" y="240792"/>
                </a:moveTo>
                <a:lnTo>
                  <a:pt x="2805155" y="234696"/>
                </a:lnTo>
                <a:lnTo>
                  <a:pt x="2823972" y="228600"/>
                </a:lnTo>
                <a:lnTo>
                  <a:pt x="2823972" y="240792"/>
                </a:lnTo>
                <a:close/>
              </a:path>
              <a:path w="2832100" h="469900">
                <a:moveTo>
                  <a:pt x="2830068" y="240792"/>
                </a:moveTo>
                <a:lnTo>
                  <a:pt x="2823972" y="240792"/>
                </a:lnTo>
                <a:lnTo>
                  <a:pt x="2823972" y="228600"/>
                </a:lnTo>
                <a:lnTo>
                  <a:pt x="2827020" y="228600"/>
                </a:lnTo>
                <a:lnTo>
                  <a:pt x="2830068" y="230124"/>
                </a:lnTo>
                <a:lnTo>
                  <a:pt x="2831592" y="231648"/>
                </a:lnTo>
                <a:lnTo>
                  <a:pt x="2831592" y="237744"/>
                </a:lnTo>
                <a:lnTo>
                  <a:pt x="2830068" y="240792"/>
                </a:lnTo>
                <a:close/>
              </a:path>
              <a:path w="2832100" h="469900">
                <a:moveTo>
                  <a:pt x="2141707" y="463296"/>
                </a:moveTo>
                <a:lnTo>
                  <a:pt x="2127504" y="463296"/>
                </a:lnTo>
                <a:lnTo>
                  <a:pt x="2127504" y="454237"/>
                </a:lnTo>
                <a:lnTo>
                  <a:pt x="2805155" y="234696"/>
                </a:lnTo>
                <a:lnTo>
                  <a:pt x="2823972" y="240792"/>
                </a:lnTo>
                <a:lnTo>
                  <a:pt x="2827020" y="240792"/>
                </a:lnTo>
                <a:lnTo>
                  <a:pt x="2141707" y="463296"/>
                </a:lnTo>
                <a:close/>
              </a:path>
              <a:path w="2832100" h="469900">
                <a:moveTo>
                  <a:pt x="12192" y="348996"/>
                </a:moveTo>
                <a:lnTo>
                  <a:pt x="6096" y="342900"/>
                </a:lnTo>
                <a:lnTo>
                  <a:pt x="12192" y="342900"/>
                </a:lnTo>
                <a:lnTo>
                  <a:pt x="12192" y="348996"/>
                </a:lnTo>
                <a:close/>
              </a:path>
              <a:path w="2832100" h="469900">
                <a:moveTo>
                  <a:pt x="2127504" y="355092"/>
                </a:moveTo>
                <a:lnTo>
                  <a:pt x="2121408" y="355092"/>
                </a:lnTo>
                <a:lnTo>
                  <a:pt x="2113788" y="348996"/>
                </a:lnTo>
                <a:lnTo>
                  <a:pt x="12192" y="348996"/>
                </a:lnTo>
                <a:lnTo>
                  <a:pt x="12192" y="342900"/>
                </a:lnTo>
                <a:lnTo>
                  <a:pt x="2124456" y="342900"/>
                </a:lnTo>
                <a:lnTo>
                  <a:pt x="2127504" y="345948"/>
                </a:lnTo>
                <a:lnTo>
                  <a:pt x="2127504" y="355092"/>
                </a:lnTo>
                <a:close/>
              </a:path>
              <a:path w="2832100" h="469900">
                <a:moveTo>
                  <a:pt x="2122932" y="469392"/>
                </a:moveTo>
                <a:lnTo>
                  <a:pt x="2118360" y="469392"/>
                </a:lnTo>
                <a:lnTo>
                  <a:pt x="2116836" y="467868"/>
                </a:lnTo>
                <a:lnTo>
                  <a:pt x="2115312" y="467868"/>
                </a:lnTo>
                <a:lnTo>
                  <a:pt x="2113788" y="464820"/>
                </a:lnTo>
                <a:lnTo>
                  <a:pt x="2113788" y="348996"/>
                </a:lnTo>
                <a:lnTo>
                  <a:pt x="2121408" y="355092"/>
                </a:lnTo>
                <a:lnTo>
                  <a:pt x="2127504" y="355092"/>
                </a:lnTo>
                <a:lnTo>
                  <a:pt x="2127504" y="454237"/>
                </a:lnTo>
                <a:lnTo>
                  <a:pt x="2118360" y="457200"/>
                </a:lnTo>
                <a:lnTo>
                  <a:pt x="2127504" y="463296"/>
                </a:lnTo>
                <a:lnTo>
                  <a:pt x="2141707" y="463296"/>
                </a:lnTo>
                <a:lnTo>
                  <a:pt x="2122932" y="469392"/>
                </a:lnTo>
                <a:close/>
              </a:path>
              <a:path w="2832100" h="469900">
                <a:moveTo>
                  <a:pt x="2127504" y="463296"/>
                </a:moveTo>
                <a:lnTo>
                  <a:pt x="2118360" y="457200"/>
                </a:lnTo>
                <a:lnTo>
                  <a:pt x="2127504" y="454237"/>
                </a:lnTo>
                <a:lnTo>
                  <a:pt x="2127504" y="463296"/>
                </a:lnTo>
                <a:close/>
              </a:path>
            </a:pathLst>
          </a:custGeom>
          <a:solidFill>
            <a:srgbClr val="FF33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7" name="object 177"/>
          <p:cNvSpPr txBox="1"/>
          <p:nvPr/>
        </p:nvSpPr>
        <p:spPr>
          <a:xfrm>
            <a:off x="5593999" y="5468040"/>
            <a:ext cx="1380004" cy="635770"/>
          </a:xfrm>
          <a:prstGeom prst="rect">
            <a:avLst/>
          </a:prstGeom>
        </p:spPr>
        <p:txBody>
          <a:bodyPr vert="horz" wrap="square" lIns="0" tIns="49866" rIns="0" bIns="0" rtlCol="0">
            <a:spAutoFit/>
          </a:bodyPr>
          <a:lstStyle/>
          <a:p>
            <a:pPr marL="1121" algn="ctr" defTabSz="806867">
              <a:spcBef>
                <a:spcPts val="393"/>
              </a:spcBef>
            </a:pPr>
            <a:r>
              <a:rPr sz="971" spc="49" dirty="0">
                <a:solidFill>
                  <a:prstClr val="black"/>
                </a:solidFill>
                <a:latin typeface="Times New Roman"/>
                <a:cs typeface="Times New Roman"/>
              </a:rPr>
              <a:t>100</a:t>
            </a:r>
            <a:endParaRPr sz="971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algn="ctr" defTabSz="806867">
              <a:lnSpc>
                <a:spcPts val="1213"/>
              </a:lnSpc>
              <a:spcBef>
                <a:spcPts val="313"/>
              </a:spcBef>
            </a:pPr>
            <a:r>
              <a:rPr sz="1015" spc="71" dirty="0">
                <a:solidFill>
                  <a:prstClr val="black"/>
                </a:solidFill>
                <a:latin typeface="Times New Roman"/>
                <a:cs typeface="Times New Roman"/>
              </a:rPr>
              <a:t>specific </a:t>
            </a:r>
            <a:r>
              <a:rPr sz="1015" spc="88" dirty="0">
                <a:solidFill>
                  <a:prstClr val="black"/>
                </a:solidFill>
                <a:latin typeface="Times New Roman"/>
                <a:cs typeface="Times New Roman"/>
              </a:rPr>
              <a:t>energy</a:t>
            </a:r>
            <a:r>
              <a:rPr sz="1015" spc="-53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015" spc="53" dirty="0">
                <a:solidFill>
                  <a:prstClr val="black"/>
                </a:solidFill>
                <a:latin typeface="Times New Roman"/>
                <a:cs typeface="Times New Roman"/>
              </a:rPr>
              <a:t>Wh/kg</a:t>
            </a:r>
            <a:endParaRPr sz="1015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R="55472" algn="ctr" defTabSz="806867">
              <a:lnSpc>
                <a:spcPts val="1902"/>
              </a:lnSpc>
            </a:pPr>
            <a:r>
              <a:rPr sz="1588" spc="71" dirty="0">
                <a:solidFill>
                  <a:srgbClr val="F2F9A8"/>
                </a:solidFill>
                <a:latin typeface="Times New Roman"/>
                <a:cs typeface="Times New Roman"/>
              </a:rPr>
              <a:t>ENERGIE</a:t>
            </a:r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78" name="object 178"/>
          <p:cNvSpPr txBox="1"/>
          <p:nvPr/>
        </p:nvSpPr>
        <p:spPr>
          <a:xfrm>
            <a:off x="2207590" y="6115668"/>
            <a:ext cx="267821" cy="261901"/>
          </a:xfrm>
          <a:prstGeom prst="rect">
            <a:avLst/>
          </a:prstGeom>
        </p:spPr>
        <p:txBody>
          <a:bodyPr vert="horz" wrap="square" lIns="0" tIns="17369" rIns="0" bIns="0" rtlCol="0">
            <a:spAutoFit/>
          </a:bodyPr>
          <a:lstStyle/>
          <a:p>
            <a:pPr marL="22413" defTabSz="806867">
              <a:spcBef>
                <a:spcPts val="137"/>
              </a:spcBef>
            </a:pPr>
            <a:fld id="{81D60167-4931-47E6-BA6A-407CBD079E47}" type="slidenum">
              <a:rPr sz="1588" spc="84" dirty="0">
                <a:solidFill>
                  <a:prstClr val="black"/>
                </a:solidFill>
                <a:latin typeface="Times New Roman"/>
                <a:cs typeface="Times New Roman"/>
              </a:rPr>
              <a:pPr marL="22413" defTabSz="806867">
                <a:spcBef>
                  <a:spcPts val="137"/>
                </a:spcBef>
              </a:pPr>
              <a:t>10</a:t>
            </a:fld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79" name="object 179"/>
          <p:cNvSpPr txBox="1">
            <a:spLocks noGrp="1"/>
          </p:cNvSpPr>
          <p:nvPr>
            <p:ph type="ftr" sz="quarter" idx="5"/>
          </p:nvPr>
        </p:nvSpPr>
        <p:spPr>
          <a:xfrm>
            <a:off x="1266642" y="6156040"/>
            <a:ext cx="831273" cy="2172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fr-FR"/>
            </a:defPPr>
            <a:lvl1pPr marL="0" algn="l" defTabSz="457200" rtl="0" eaLnBrk="1" latinLnBrk="0" hangingPunct="1">
              <a:defRPr sz="706" b="0" i="0" kern="1200">
                <a:solidFill>
                  <a:schemeClr val="tx1"/>
                </a:solidFill>
                <a:latin typeface="Times New Roman"/>
                <a:ea typeface="+mn-ea"/>
                <a:cs typeface="Times New Roman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206" marR="4483" defTabSz="806867">
              <a:spcBef>
                <a:spcPts val="13"/>
              </a:spcBef>
            </a:pPr>
            <a:r>
              <a:rPr lang="sv-SE" spc="-26"/>
              <a:t>EVOLIS- </a:t>
            </a:r>
            <a:r>
              <a:rPr lang="sv-SE" spc="35"/>
              <a:t>Saft  </a:t>
            </a:r>
            <a:r>
              <a:rPr lang="sv-SE" spc="22"/>
              <a:t>6-7 </a:t>
            </a:r>
            <a:r>
              <a:rPr lang="sv-SE" spc="31"/>
              <a:t>NOV</a:t>
            </a:r>
            <a:r>
              <a:rPr lang="sv-SE" spc="-62"/>
              <a:t> </a:t>
            </a:r>
            <a:r>
              <a:rPr lang="sv-SE" spc="31"/>
              <a:t>2019</a:t>
            </a:r>
            <a:endParaRPr spc="31" dirty="0">
              <a:solidFill>
                <a:prstClr val="black"/>
              </a:solidFill>
            </a:endParaRPr>
          </a:p>
        </p:txBody>
      </p:sp>
      <p:sp>
        <p:nvSpPr>
          <p:cNvPr id="180" name="object 180"/>
          <p:cNvSpPr txBox="1"/>
          <p:nvPr/>
        </p:nvSpPr>
        <p:spPr>
          <a:xfrm>
            <a:off x="5018449" y="6185411"/>
            <a:ext cx="2180104" cy="1222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206" defTabSz="806867"/>
            <a:r>
              <a:rPr sz="794" spc="49" dirty="0">
                <a:solidFill>
                  <a:prstClr val="black"/>
                </a:solidFill>
                <a:latin typeface="Times New Roman"/>
                <a:cs typeface="Times New Roman"/>
              </a:rPr>
              <a:t>Informations </a:t>
            </a:r>
            <a:r>
              <a:rPr sz="794" spc="71" dirty="0">
                <a:solidFill>
                  <a:prstClr val="black"/>
                </a:solidFill>
                <a:latin typeface="Times New Roman"/>
                <a:cs typeface="Times New Roman"/>
              </a:rPr>
              <a:t>propriété </a:t>
            </a:r>
            <a:r>
              <a:rPr sz="794" spc="150" dirty="0">
                <a:solidFill>
                  <a:prstClr val="black"/>
                </a:solidFill>
                <a:latin typeface="Times New Roman"/>
                <a:cs typeface="Times New Roman"/>
              </a:rPr>
              <a:t>de</a:t>
            </a:r>
            <a:r>
              <a:rPr sz="794" spc="-79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794" spc="40" dirty="0">
                <a:solidFill>
                  <a:prstClr val="black"/>
                </a:solidFill>
                <a:latin typeface="Times New Roman"/>
                <a:cs typeface="Times New Roman"/>
              </a:rPr>
              <a:t>Saft </a:t>
            </a:r>
            <a:r>
              <a:rPr sz="794" dirty="0">
                <a:solidFill>
                  <a:prstClr val="black"/>
                </a:solidFill>
                <a:latin typeface="Times New Roman"/>
                <a:cs typeface="Times New Roman"/>
              </a:rPr>
              <a:t>– </a:t>
            </a:r>
            <a:r>
              <a:rPr sz="794" spc="57" dirty="0">
                <a:solidFill>
                  <a:prstClr val="black"/>
                </a:solidFill>
                <a:latin typeface="Times New Roman"/>
                <a:cs typeface="Times New Roman"/>
              </a:rPr>
              <a:t>Confidentiel</a:t>
            </a:r>
            <a:endParaRPr sz="794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061883" y="1011218"/>
            <a:ext cx="8068235" cy="10085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9570720" y="6154718"/>
            <a:ext cx="145228" cy="9412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9793941" y="6173545"/>
            <a:ext cx="48745" cy="75640"/>
          </a:xfrm>
          <a:custGeom>
            <a:avLst/>
            <a:gdLst/>
            <a:ahLst/>
            <a:cxnLst/>
            <a:rect l="l" t="t" r="r" b="b"/>
            <a:pathLst>
              <a:path w="55245" h="85725">
                <a:moveTo>
                  <a:pt x="0" y="0"/>
                </a:moveTo>
                <a:lnTo>
                  <a:pt x="54864" y="0"/>
                </a:lnTo>
                <a:lnTo>
                  <a:pt x="54864" y="85344"/>
                </a:lnTo>
                <a:lnTo>
                  <a:pt x="0" y="85344"/>
                </a:lnTo>
                <a:lnTo>
                  <a:pt x="0" y="0"/>
                </a:lnTo>
                <a:close/>
              </a:path>
            </a:pathLst>
          </a:custGeom>
          <a:solidFill>
            <a:srgbClr val="C11F2D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9740153" y="6164804"/>
            <a:ext cx="156322" cy="0"/>
          </a:xfrm>
          <a:custGeom>
            <a:avLst/>
            <a:gdLst/>
            <a:ahLst/>
            <a:cxnLst/>
            <a:rect l="l" t="t" r="r" b="b"/>
            <a:pathLst>
              <a:path w="177165">
                <a:moveTo>
                  <a:pt x="0" y="0"/>
                </a:moveTo>
                <a:lnTo>
                  <a:pt x="176784" y="0"/>
                </a:lnTo>
              </a:path>
            </a:pathLst>
          </a:custGeom>
          <a:ln w="22860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9194201" y="6154718"/>
            <a:ext cx="151952" cy="9412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9373048" y="6154718"/>
            <a:ext cx="160020" cy="9412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9194202" y="6312722"/>
            <a:ext cx="705971" cy="0"/>
          </a:xfrm>
          <a:custGeom>
            <a:avLst/>
            <a:gdLst/>
            <a:ahLst/>
            <a:cxnLst/>
            <a:rect l="l" t="t" r="r" b="b"/>
            <a:pathLst>
              <a:path w="800100">
                <a:moveTo>
                  <a:pt x="0" y="0"/>
                </a:moveTo>
                <a:lnTo>
                  <a:pt x="800100" y="0"/>
                </a:lnTo>
              </a:path>
            </a:pathLst>
          </a:custGeom>
          <a:ln w="53340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2538581" y="6196405"/>
            <a:ext cx="0" cy="118782"/>
          </a:xfrm>
          <a:custGeom>
            <a:avLst/>
            <a:gdLst/>
            <a:ahLst/>
            <a:cxnLst/>
            <a:rect l="l" t="t" r="r" b="b"/>
            <a:pathLst>
              <a:path h="134620">
                <a:moveTo>
                  <a:pt x="0" y="0"/>
                </a:moveTo>
                <a:lnTo>
                  <a:pt x="0" y="134112"/>
                </a:lnTo>
              </a:path>
            </a:pathLst>
          </a:custGeom>
          <a:ln w="10668">
            <a:solidFill>
              <a:srgbClr val="595959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061883" y="1210236"/>
            <a:ext cx="8068235" cy="44778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2665228" y="698796"/>
            <a:ext cx="4072778" cy="309421"/>
          </a:xfrm>
          <a:prstGeom prst="rect">
            <a:avLst/>
          </a:prstGeom>
        </p:spPr>
        <p:txBody>
          <a:bodyPr vert="horz" wrap="square" lIns="0" tIns="10646" rIns="0" bIns="0" rtlCol="0">
            <a:spAutoFit/>
          </a:bodyPr>
          <a:lstStyle/>
          <a:p>
            <a:pPr marL="11206">
              <a:spcBef>
                <a:spcPts val="84"/>
              </a:spcBef>
            </a:pPr>
            <a:r>
              <a:rPr sz="1941" spc="168" dirty="0">
                <a:solidFill>
                  <a:srgbClr val="004660"/>
                </a:solidFill>
              </a:rPr>
              <a:t>L’accumulateur </a:t>
            </a:r>
            <a:r>
              <a:rPr sz="1941" spc="22" dirty="0">
                <a:solidFill>
                  <a:srgbClr val="004660"/>
                </a:solidFill>
              </a:rPr>
              <a:t>Li-ion </a:t>
            </a:r>
            <a:r>
              <a:rPr sz="1941" dirty="0">
                <a:solidFill>
                  <a:srgbClr val="004660"/>
                </a:solidFill>
              </a:rPr>
              <a:t>:</a:t>
            </a:r>
            <a:r>
              <a:rPr sz="1941" spc="-31" dirty="0">
                <a:solidFill>
                  <a:srgbClr val="004660"/>
                </a:solidFill>
              </a:rPr>
              <a:t> </a:t>
            </a:r>
            <a:r>
              <a:rPr sz="1941" spc="260" dirty="0">
                <a:solidFill>
                  <a:srgbClr val="004660"/>
                </a:solidFill>
              </a:rPr>
              <a:t>avantages</a:t>
            </a:r>
            <a:endParaRPr sz="1941"/>
          </a:p>
        </p:txBody>
      </p:sp>
      <p:sp>
        <p:nvSpPr>
          <p:cNvPr id="13" name="object 13"/>
          <p:cNvSpPr txBox="1"/>
          <p:nvPr/>
        </p:nvSpPr>
        <p:spPr>
          <a:xfrm>
            <a:off x="2207590" y="6115668"/>
            <a:ext cx="267821" cy="261901"/>
          </a:xfrm>
          <a:prstGeom prst="rect">
            <a:avLst/>
          </a:prstGeom>
        </p:spPr>
        <p:txBody>
          <a:bodyPr vert="horz" wrap="square" lIns="0" tIns="17369" rIns="0" bIns="0" rtlCol="0">
            <a:spAutoFit/>
          </a:bodyPr>
          <a:lstStyle/>
          <a:p>
            <a:pPr marL="22413" defTabSz="806867">
              <a:spcBef>
                <a:spcPts val="137"/>
              </a:spcBef>
            </a:pPr>
            <a:fld id="{81D60167-4931-47E6-BA6A-407CBD079E47}" type="slidenum">
              <a:rPr sz="1588" spc="84" dirty="0">
                <a:solidFill>
                  <a:prstClr val="black"/>
                </a:solidFill>
                <a:latin typeface="Times New Roman"/>
                <a:cs typeface="Times New Roman"/>
              </a:rPr>
              <a:pPr marL="22413" defTabSz="806867">
                <a:spcBef>
                  <a:spcPts val="137"/>
                </a:spcBef>
              </a:pPr>
              <a:t>11</a:t>
            </a:fld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ftr" sz="quarter" idx="5"/>
          </p:nvPr>
        </p:nvSpPr>
        <p:spPr>
          <a:xfrm>
            <a:off x="1266642" y="6156040"/>
            <a:ext cx="831273" cy="2172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fr-FR"/>
            </a:defPPr>
            <a:lvl1pPr marL="0" algn="l" defTabSz="457200" rtl="0" eaLnBrk="1" latinLnBrk="0" hangingPunct="1">
              <a:defRPr sz="706" b="0" i="0" kern="1200">
                <a:solidFill>
                  <a:schemeClr val="tx1"/>
                </a:solidFill>
                <a:latin typeface="Times New Roman"/>
                <a:ea typeface="+mn-ea"/>
                <a:cs typeface="Times New Roman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206" marR="4483" defTabSz="806867">
              <a:spcBef>
                <a:spcPts val="13"/>
              </a:spcBef>
            </a:pPr>
            <a:r>
              <a:rPr lang="sv-SE" spc="-26"/>
              <a:t>EVOLIS- </a:t>
            </a:r>
            <a:r>
              <a:rPr lang="sv-SE" spc="35"/>
              <a:t>Saft  </a:t>
            </a:r>
            <a:r>
              <a:rPr lang="sv-SE" spc="22"/>
              <a:t>6-7 </a:t>
            </a:r>
            <a:r>
              <a:rPr lang="sv-SE" spc="31"/>
              <a:t>NOV</a:t>
            </a:r>
            <a:r>
              <a:rPr lang="sv-SE" spc="-62"/>
              <a:t> </a:t>
            </a:r>
            <a:r>
              <a:rPr lang="sv-SE" spc="31"/>
              <a:t>2019</a:t>
            </a:r>
            <a:endParaRPr spc="31" dirty="0">
              <a:solidFill>
                <a:prstClr val="black"/>
              </a:solidFill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5018449" y="6185411"/>
            <a:ext cx="2180104" cy="1222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206" defTabSz="806867"/>
            <a:r>
              <a:rPr sz="794" spc="49" dirty="0">
                <a:solidFill>
                  <a:prstClr val="black"/>
                </a:solidFill>
                <a:latin typeface="Times New Roman"/>
                <a:cs typeface="Times New Roman"/>
              </a:rPr>
              <a:t>Informations </a:t>
            </a:r>
            <a:r>
              <a:rPr sz="794" spc="71" dirty="0">
                <a:solidFill>
                  <a:prstClr val="black"/>
                </a:solidFill>
                <a:latin typeface="Times New Roman"/>
                <a:cs typeface="Times New Roman"/>
              </a:rPr>
              <a:t>propriété </a:t>
            </a:r>
            <a:r>
              <a:rPr sz="794" spc="150" dirty="0">
                <a:solidFill>
                  <a:prstClr val="black"/>
                </a:solidFill>
                <a:latin typeface="Times New Roman"/>
                <a:cs typeface="Times New Roman"/>
              </a:rPr>
              <a:t>de</a:t>
            </a:r>
            <a:r>
              <a:rPr sz="794" spc="-79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794" spc="40" dirty="0">
                <a:solidFill>
                  <a:prstClr val="black"/>
                </a:solidFill>
                <a:latin typeface="Times New Roman"/>
                <a:cs typeface="Times New Roman"/>
              </a:rPr>
              <a:t>Saft </a:t>
            </a:r>
            <a:r>
              <a:rPr sz="794" dirty="0">
                <a:solidFill>
                  <a:prstClr val="black"/>
                </a:solidFill>
                <a:latin typeface="Times New Roman"/>
                <a:cs typeface="Times New Roman"/>
              </a:rPr>
              <a:t>– </a:t>
            </a:r>
            <a:r>
              <a:rPr sz="794" spc="57" dirty="0">
                <a:solidFill>
                  <a:prstClr val="black"/>
                </a:solidFill>
                <a:latin typeface="Times New Roman"/>
                <a:cs typeface="Times New Roman"/>
              </a:rPr>
              <a:t>Confidentiel</a:t>
            </a:r>
            <a:endParaRPr sz="794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349184" y="1410883"/>
            <a:ext cx="5479676" cy="4505687"/>
          </a:xfrm>
          <a:prstGeom prst="rect">
            <a:avLst/>
          </a:prstGeom>
        </p:spPr>
        <p:txBody>
          <a:bodyPr vert="horz" wrap="square" lIns="0" tIns="125506" rIns="0" bIns="0" rtlCol="0">
            <a:spAutoFit/>
          </a:bodyPr>
          <a:lstStyle/>
          <a:p>
            <a:pPr marL="316023" indent="-304816" defTabSz="806867">
              <a:spcBef>
                <a:spcPts val="988"/>
              </a:spcBef>
              <a:buClr>
                <a:srgbClr val="112F52"/>
              </a:buClr>
              <a:buSzPct val="108333"/>
              <a:buFontTx/>
              <a:buChar char="–"/>
              <a:tabLst>
                <a:tab pos="316023" algn="l"/>
                <a:tab pos="316583" algn="l"/>
              </a:tabLst>
            </a:pPr>
            <a:r>
              <a:rPr sz="1588" spc="180" dirty="0">
                <a:solidFill>
                  <a:prstClr val="black"/>
                </a:solidFill>
                <a:latin typeface="Times New Roman"/>
                <a:cs typeface="Times New Roman"/>
              </a:rPr>
              <a:t>Avantages </a:t>
            </a:r>
            <a:r>
              <a:rPr sz="1588" spc="282" dirty="0">
                <a:solidFill>
                  <a:prstClr val="black"/>
                </a:solidFill>
                <a:latin typeface="Times New Roman"/>
                <a:cs typeface="Times New Roman"/>
              </a:rPr>
              <a:t>de</a:t>
            </a:r>
            <a:r>
              <a:rPr sz="1588" spc="-216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50" dirty="0">
                <a:solidFill>
                  <a:prstClr val="black"/>
                </a:solidFill>
                <a:latin typeface="Times New Roman"/>
                <a:cs typeface="Times New Roman"/>
              </a:rPr>
              <a:t>l’accumulateur </a:t>
            </a:r>
            <a:r>
              <a:rPr sz="1588" spc="18" dirty="0">
                <a:solidFill>
                  <a:prstClr val="black"/>
                </a:solidFill>
                <a:latin typeface="Times New Roman"/>
                <a:cs typeface="Times New Roman"/>
              </a:rPr>
              <a:t>Li-ion </a:t>
            </a:r>
            <a:r>
              <a:rPr sz="1588" dirty="0">
                <a:solidFill>
                  <a:prstClr val="black"/>
                </a:solidFill>
                <a:latin typeface="Times New Roman"/>
                <a:cs typeface="Times New Roman"/>
              </a:rPr>
              <a:t>:</a:t>
            </a:r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85801" marR="762601" lvl="1" indent="-485801" defTabSz="806867">
              <a:lnSpc>
                <a:spcPts val="2471"/>
              </a:lnSpc>
              <a:spcBef>
                <a:spcPts val="40"/>
              </a:spcBef>
              <a:buClr>
                <a:srgbClr val="008EC1"/>
              </a:buClr>
              <a:buFontTx/>
              <a:buChar char="•"/>
              <a:tabLst>
                <a:tab pos="485801" algn="l"/>
                <a:tab pos="486361" algn="l"/>
              </a:tabLst>
            </a:pPr>
            <a:r>
              <a:rPr sz="1235" spc="62" dirty="0">
                <a:solidFill>
                  <a:prstClr val="black"/>
                </a:solidFill>
                <a:latin typeface="Times New Roman"/>
                <a:cs typeface="Times New Roman"/>
              </a:rPr>
              <a:t>Tension</a:t>
            </a:r>
            <a:r>
              <a:rPr sz="1235" spc="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72" dirty="0">
                <a:solidFill>
                  <a:prstClr val="black"/>
                </a:solidFill>
                <a:latin typeface="Times New Roman"/>
                <a:cs typeface="Times New Roman"/>
              </a:rPr>
              <a:t>moyenne</a:t>
            </a:r>
            <a:r>
              <a:rPr sz="1235" spc="18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221" dirty="0">
                <a:solidFill>
                  <a:prstClr val="black"/>
                </a:solidFill>
                <a:latin typeface="Times New Roman"/>
                <a:cs typeface="Times New Roman"/>
              </a:rPr>
              <a:t>de</a:t>
            </a:r>
            <a:r>
              <a:rPr sz="1235" spc="26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19" dirty="0">
                <a:solidFill>
                  <a:prstClr val="black"/>
                </a:solidFill>
                <a:latin typeface="Times New Roman"/>
                <a:cs typeface="Times New Roman"/>
              </a:rPr>
              <a:t>fonctionnement</a:t>
            </a:r>
            <a:r>
              <a:rPr sz="1235" spc="31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68" dirty="0">
                <a:solidFill>
                  <a:prstClr val="black"/>
                </a:solidFill>
                <a:latin typeface="Times New Roman"/>
                <a:cs typeface="Times New Roman"/>
              </a:rPr>
              <a:t>élevée</a:t>
            </a:r>
            <a:r>
              <a:rPr sz="1235" spc="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66" dirty="0">
                <a:solidFill>
                  <a:prstClr val="black"/>
                </a:solidFill>
                <a:latin typeface="Times New Roman"/>
                <a:cs typeface="Times New Roman"/>
              </a:rPr>
              <a:t>(3.3-3.8</a:t>
            </a:r>
            <a:r>
              <a:rPr sz="1235" spc="26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3" dirty="0">
                <a:solidFill>
                  <a:prstClr val="black"/>
                </a:solidFill>
                <a:latin typeface="Times New Roman"/>
                <a:cs typeface="Times New Roman"/>
              </a:rPr>
              <a:t>V)  </a:t>
            </a:r>
            <a:r>
              <a:rPr sz="1235" spc="44" dirty="0">
                <a:solidFill>
                  <a:prstClr val="black"/>
                </a:solidFill>
                <a:latin typeface="Times New Roman"/>
                <a:cs typeface="Times New Roman"/>
              </a:rPr>
              <a:t>(1.2V </a:t>
            </a:r>
            <a:r>
              <a:rPr sz="1235" spc="119" dirty="0">
                <a:solidFill>
                  <a:prstClr val="black"/>
                </a:solidFill>
                <a:latin typeface="Times New Roman"/>
                <a:cs typeface="Times New Roman"/>
              </a:rPr>
              <a:t>pour </a:t>
            </a:r>
            <a:r>
              <a:rPr sz="1235" spc="84" dirty="0">
                <a:solidFill>
                  <a:prstClr val="black"/>
                </a:solidFill>
                <a:latin typeface="Times New Roman"/>
                <a:cs typeface="Times New Roman"/>
              </a:rPr>
              <a:t>Ni-Cd </a:t>
            </a:r>
            <a:r>
              <a:rPr sz="1235" spc="150" dirty="0">
                <a:solidFill>
                  <a:prstClr val="black"/>
                </a:solidFill>
                <a:latin typeface="Times New Roman"/>
                <a:cs typeface="Times New Roman"/>
              </a:rPr>
              <a:t>ou</a:t>
            </a:r>
            <a:r>
              <a:rPr sz="1235" spc="-168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8" dirty="0">
                <a:solidFill>
                  <a:prstClr val="black"/>
                </a:solidFill>
                <a:latin typeface="Times New Roman"/>
                <a:cs typeface="Times New Roman"/>
              </a:rPr>
              <a:t>Ni-MH)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85801" lvl="1" indent="-485801" defTabSz="806867">
              <a:spcBef>
                <a:spcPts val="732"/>
              </a:spcBef>
              <a:buClr>
                <a:srgbClr val="008EC1"/>
              </a:buClr>
              <a:buFontTx/>
              <a:buChar char="•"/>
              <a:tabLst>
                <a:tab pos="485801" algn="l"/>
                <a:tab pos="486361" algn="l"/>
              </a:tabLst>
            </a:pPr>
            <a:r>
              <a:rPr sz="1235" spc="88" dirty="0">
                <a:solidFill>
                  <a:prstClr val="black"/>
                </a:solidFill>
                <a:latin typeface="Times New Roman"/>
                <a:cs typeface="Times New Roman"/>
              </a:rPr>
              <a:t>Énergie</a:t>
            </a:r>
            <a:r>
              <a:rPr sz="1235" spc="31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10" dirty="0">
                <a:solidFill>
                  <a:prstClr val="black"/>
                </a:solidFill>
                <a:latin typeface="Times New Roman"/>
                <a:cs typeface="Times New Roman"/>
              </a:rPr>
              <a:t>spécifique</a:t>
            </a:r>
            <a:r>
              <a:rPr sz="1235" spc="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75" dirty="0">
                <a:solidFill>
                  <a:prstClr val="black"/>
                </a:solidFill>
                <a:latin typeface="Times New Roman"/>
                <a:cs typeface="Times New Roman"/>
              </a:rPr>
              <a:t>très</a:t>
            </a:r>
            <a:r>
              <a:rPr sz="1235" spc="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68" dirty="0">
                <a:solidFill>
                  <a:prstClr val="black"/>
                </a:solidFill>
                <a:latin typeface="Times New Roman"/>
                <a:cs typeface="Times New Roman"/>
              </a:rPr>
              <a:t>élevée</a:t>
            </a:r>
            <a:r>
              <a:rPr sz="1235" spc="18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66" dirty="0">
                <a:solidFill>
                  <a:prstClr val="black"/>
                </a:solidFill>
                <a:latin typeface="Times New Roman"/>
                <a:cs typeface="Times New Roman"/>
              </a:rPr>
              <a:t>(&gt;150</a:t>
            </a:r>
            <a:r>
              <a:rPr sz="1235" spc="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19" dirty="0">
                <a:solidFill>
                  <a:prstClr val="black"/>
                </a:solidFill>
                <a:latin typeface="Times New Roman"/>
                <a:cs typeface="Times New Roman"/>
              </a:rPr>
              <a:t>Wh/kg</a:t>
            </a:r>
            <a:r>
              <a:rPr sz="1235" spc="22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37" dirty="0">
                <a:solidFill>
                  <a:prstClr val="black"/>
                </a:solidFill>
                <a:latin typeface="Times New Roman"/>
                <a:cs typeface="Times New Roman"/>
              </a:rPr>
              <a:t>élément)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85801" lvl="1" indent="-485801" defTabSz="806867">
              <a:spcBef>
                <a:spcPts val="997"/>
              </a:spcBef>
              <a:buClr>
                <a:srgbClr val="008EC1"/>
              </a:buClr>
              <a:buFontTx/>
              <a:buChar char="•"/>
              <a:tabLst>
                <a:tab pos="485801" algn="l"/>
                <a:tab pos="486361" algn="l"/>
              </a:tabLst>
            </a:pPr>
            <a:r>
              <a:rPr sz="1235" spc="88" dirty="0">
                <a:solidFill>
                  <a:prstClr val="black"/>
                </a:solidFill>
                <a:latin typeface="Times New Roman"/>
                <a:cs typeface="Times New Roman"/>
              </a:rPr>
              <a:t>Énergie</a:t>
            </a:r>
            <a:r>
              <a:rPr sz="1235" spc="31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15" dirty="0">
                <a:solidFill>
                  <a:prstClr val="black"/>
                </a:solidFill>
                <a:latin typeface="Times New Roman"/>
                <a:cs typeface="Times New Roman"/>
              </a:rPr>
              <a:t>volumique</a:t>
            </a:r>
            <a:r>
              <a:rPr sz="1235" spc="9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79" dirty="0">
                <a:solidFill>
                  <a:prstClr val="black"/>
                </a:solidFill>
                <a:latin typeface="Times New Roman"/>
                <a:cs typeface="Times New Roman"/>
              </a:rPr>
              <a:t>très</a:t>
            </a:r>
            <a:r>
              <a:rPr sz="1235" spc="44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68" dirty="0">
                <a:solidFill>
                  <a:prstClr val="black"/>
                </a:solidFill>
                <a:latin typeface="Times New Roman"/>
                <a:cs typeface="Times New Roman"/>
              </a:rPr>
              <a:t>élevée</a:t>
            </a:r>
            <a:r>
              <a:rPr sz="1235" spc="31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44" dirty="0">
                <a:solidFill>
                  <a:prstClr val="black"/>
                </a:solidFill>
                <a:latin typeface="Times New Roman"/>
                <a:cs typeface="Times New Roman"/>
              </a:rPr>
              <a:t>(&gt;</a:t>
            </a:r>
            <a:r>
              <a:rPr sz="1235" spc="31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75" dirty="0">
                <a:solidFill>
                  <a:prstClr val="black"/>
                </a:solidFill>
                <a:latin typeface="Times New Roman"/>
                <a:cs typeface="Times New Roman"/>
              </a:rPr>
              <a:t>450</a:t>
            </a:r>
            <a:r>
              <a:rPr sz="1235" spc="18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62" dirty="0">
                <a:solidFill>
                  <a:prstClr val="black"/>
                </a:solidFill>
                <a:latin typeface="Times New Roman"/>
                <a:cs typeface="Times New Roman"/>
              </a:rPr>
              <a:t>Wh/l</a:t>
            </a:r>
            <a:r>
              <a:rPr sz="1235" spc="22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37" dirty="0">
                <a:solidFill>
                  <a:prstClr val="black"/>
                </a:solidFill>
                <a:latin typeface="Times New Roman"/>
                <a:cs typeface="Times New Roman"/>
              </a:rPr>
              <a:t>élément)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03433" lvl="1" defTabSz="806867">
              <a:buClr>
                <a:srgbClr val="008EC1"/>
              </a:buClr>
              <a:buFont typeface="Times New Roman"/>
              <a:buChar char="•"/>
            </a:pPr>
            <a:endParaRPr sz="1324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03433" lvl="1" defTabSz="806867">
              <a:buClr>
                <a:srgbClr val="008EC1"/>
              </a:buClr>
              <a:buFont typeface="Times New Roman"/>
              <a:buChar char="•"/>
            </a:pPr>
            <a:endParaRPr sz="1677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85801" lvl="1" indent="-485801" defTabSz="806867">
              <a:buClr>
                <a:srgbClr val="008EC1"/>
              </a:buClr>
              <a:buFontTx/>
              <a:buChar char="•"/>
              <a:tabLst>
                <a:tab pos="485801" algn="l"/>
                <a:tab pos="486361" algn="l"/>
              </a:tabLst>
            </a:pPr>
            <a:r>
              <a:rPr sz="1235" spc="106" dirty="0">
                <a:solidFill>
                  <a:prstClr val="black"/>
                </a:solidFill>
                <a:latin typeface="Times New Roman"/>
                <a:cs typeface="Times New Roman"/>
              </a:rPr>
              <a:t>Longue</a:t>
            </a:r>
            <a:r>
              <a:rPr sz="1235" spc="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54" dirty="0">
                <a:solidFill>
                  <a:prstClr val="black"/>
                </a:solidFill>
                <a:latin typeface="Times New Roman"/>
                <a:cs typeface="Times New Roman"/>
              </a:rPr>
              <a:t>durée</a:t>
            </a:r>
            <a:r>
              <a:rPr sz="1235" spc="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221" dirty="0">
                <a:solidFill>
                  <a:prstClr val="black"/>
                </a:solidFill>
                <a:latin typeface="Times New Roman"/>
                <a:cs typeface="Times New Roman"/>
              </a:rPr>
              <a:t>de</a:t>
            </a:r>
            <a:r>
              <a:rPr sz="1235" spc="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88" dirty="0">
                <a:solidFill>
                  <a:prstClr val="black"/>
                </a:solidFill>
                <a:latin typeface="Times New Roman"/>
                <a:cs typeface="Times New Roman"/>
              </a:rPr>
              <a:t>vie</a:t>
            </a:r>
            <a:r>
              <a:rPr sz="1235" spc="22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80" dirty="0">
                <a:solidFill>
                  <a:prstClr val="black"/>
                </a:solidFill>
                <a:latin typeface="Times New Roman"/>
                <a:cs typeface="Times New Roman"/>
              </a:rPr>
              <a:t>en</a:t>
            </a:r>
            <a:r>
              <a:rPr sz="1235" spc="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76" dirty="0">
                <a:solidFill>
                  <a:prstClr val="black"/>
                </a:solidFill>
                <a:latin typeface="Times New Roman"/>
                <a:cs typeface="Times New Roman"/>
              </a:rPr>
              <a:t>cyclage</a:t>
            </a:r>
            <a:r>
              <a:rPr sz="1235" spc="22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32" dirty="0">
                <a:solidFill>
                  <a:prstClr val="black"/>
                </a:solidFill>
                <a:latin typeface="Times New Roman"/>
                <a:cs typeface="Times New Roman"/>
              </a:rPr>
              <a:t>et</a:t>
            </a:r>
            <a:r>
              <a:rPr sz="1235" spc="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46" dirty="0">
                <a:solidFill>
                  <a:prstClr val="black"/>
                </a:solidFill>
                <a:latin typeface="Times New Roman"/>
                <a:cs typeface="Times New Roman"/>
              </a:rPr>
              <a:t>calendaire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85801" lvl="1" indent="-485801" defTabSz="806867">
              <a:spcBef>
                <a:spcPts val="997"/>
              </a:spcBef>
              <a:buClr>
                <a:srgbClr val="008EC1"/>
              </a:buClr>
              <a:buFontTx/>
              <a:buChar char="•"/>
              <a:tabLst>
                <a:tab pos="485801" algn="l"/>
                <a:tab pos="486361" algn="l"/>
              </a:tabLst>
            </a:pPr>
            <a:r>
              <a:rPr sz="1235" spc="150" dirty="0">
                <a:solidFill>
                  <a:prstClr val="black"/>
                </a:solidFill>
                <a:latin typeface="Times New Roman"/>
                <a:cs typeface="Times New Roman"/>
              </a:rPr>
              <a:t>Autodécharge </a:t>
            </a:r>
            <a:r>
              <a:rPr sz="1235" spc="88" dirty="0">
                <a:solidFill>
                  <a:prstClr val="black"/>
                </a:solidFill>
                <a:latin typeface="Times New Roman"/>
                <a:cs typeface="Times New Roman"/>
              </a:rPr>
              <a:t>faible </a:t>
            </a:r>
            <a:r>
              <a:rPr sz="1235" spc="180" dirty="0">
                <a:solidFill>
                  <a:prstClr val="black"/>
                </a:solidFill>
                <a:latin typeface="Times New Roman"/>
                <a:cs typeface="Times New Roman"/>
              </a:rPr>
              <a:t>en</a:t>
            </a:r>
            <a:r>
              <a:rPr sz="1235" spc="-137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63" dirty="0">
                <a:solidFill>
                  <a:prstClr val="black"/>
                </a:solidFill>
                <a:latin typeface="Times New Roman"/>
                <a:cs typeface="Times New Roman"/>
              </a:rPr>
              <a:t>stockage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85801" lvl="1" indent="-485801" defTabSz="806867">
              <a:spcBef>
                <a:spcPts val="984"/>
              </a:spcBef>
              <a:buClr>
                <a:srgbClr val="008EC1"/>
              </a:buClr>
              <a:buFontTx/>
              <a:buChar char="•"/>
              <a:tabLst>
                <a:tab pos="485801" algn="l"/>
                <a:tab pos="486361" algn="l"/>
              </a:tabLst>
            </a:pPr>
            <a:r>
              <a:rPr sz="1235" spc="84" dirty="0">
                <a:solidFill>
                  <a:prstClr val="black"/>
                </a:solidFill>
                <a:latin typeface="Times New Roman"/>
                <a:cs typeface="Times New Roman"/>
              </a:rPr>
              <a:t>Excellent</a:t>
            </a:r>
            <a:r>
              <a:rPr sz="1235" spc="31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50" dirty="0">
                <a:solidFill>
                  <a:prstClr val="black"/>
                </a:solidFill>
                <a:latin typeface="Times New Roman"/>
                <a:cs typeface="Times New Roman"/>
              </a:rPr>
              <a:t>rendement</a:t>
            </a:r>
            <a:r>
              <a:rPr sz="1235" spc="4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41" dirty="0">
                <a:solidFill>
                  <a:prstClr val="black"/>
                </a:solidFill>
                <a:latin typeface="Times New Roman"/>
                <a:cs typeface="Times New Roman"/>
              </a:rPr>
              <a:t>coulombique</a:t>
            </a:r>
            <a:r>
              <a:rPr sz="1235" spc="26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66" dirty="0">
                <a:solidFill>
                  <a:prstClr val="black"/>
                </a:solidFill>
                <a:latin typeface="Times New Roman"/>
                <a:cs typeface="Times New Roman"/>
              </a:rPr>
              <a:t>(100%)</a:t>
            </a:r>
            <a:r>
              <a:rPr sz="1235" spc="18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32" dirty="0">
                <a:solidFill>
                  <a:prstClr val="black"/>
                </a:solidFill>
                <a:latin typeface="Times New Roman"/>
                <a:cs typeface="Times New Roman"/>
              </a:rPr>
              <a:t>et</a:t>
            </a:r>
            <a:r>
              <a:rPr sz="1235" spc="4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41" dirty="0">
                <a:solidFill>
                  <a:prstClr val="black"/>
                </a:solidFill>
                <a:latin typeface="Times New Roman"/>
                <a:cs typeface="Times New Roman"/>
              </a:rPr>
              <a:t>énergétique</a:t>
            </a:r>
            <a:r>
              <a:rPr sz="1235" spc="4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49" dirty="0">
                <a:solidFill>
                  <a:prstClr val="black"/>
                </a:solidFill>
                <a:latin typeface="Times New Roman"/>
                <a:cs typeface="Times New Roman"/>
              </a:rPr>
              <a:t>(&gt;</a:t>
            </a:r>
            <a:r>
              <a:rPr sz="1235" spc="4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62" dirty="0">
                <a:solidFill>
                  <a:prstClr val="black"/>
                </a:solidFill>
                <a:latin typeface="Times New Roman"/>
                <a:cs typeface="Times New Roman"/>
              </a:rPr>
              <a:t>90%)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03433" lvl="1" defTabSz="806867">
              <a:buClr>
                <a:srgbClr val="008EC1"/>
              </a:buClr>
              <a:buFont typeface="Times New Roman"/>
              <a:buChar char="•"/>
            </a:pPr>
            <a:endParaRPr sz="1324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03433" lvl="1" defTabSz="806867">
              <a:spcBef>
                <a:spcPts val="13"/>
              </a:spcBef>
              <a:buClr>
                <a:srgbClr val="008EC1"/>
              </a:buClr>
              <a:buFont typeface="Times New Roman"/>
              <a:buChar char="•"/>
            </a:pPr>
            <a:endParaRPr sz="1677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85801" lvl="1" indent="-485801" defTabSz="806867">
              <a:buClr>
                <a:srgbClr val="008EC1"/>
              </a:buClr>
              <a:buFontTx/>
              <a:buChar char="•"/>
              <a:tabLst>
                <a:tab pos="485801" algn="l"/>
                <a:tab pos="486361" algn="l"/>
              </a:tabLst>
            </a:pPr>
            <a:r>
              <a:rPr sz="1235" spc="154" dirty="0">
                <a:solidFill>
                  <a:prstClr val="black"/>
                </a:solidFill>
                <a:latin typeface="Times New Roman"/>
                <a:cs typeface="Times New Roman"/>
              </a:rPr>
              <a:t>Charge </a:t>
            </a:r>
            <a:r>
              <a:rPr sz="1235" spc="137" dirty="0">
                <a:solidFill>
                  <a:prstClr val="black"/>
                </a:solidFill>
                <a:latin typeface="Times New Roman"/>
                <a:cs typeface="Times New Roman"/>
              </a:rPr>
              <a:t>rapide</a:t>
            </a:r>
            <a:r>
              <a:rPr sz="1235" spc="-88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01" dirty="0">
                <a:solidFill>
                  <a:prstClr val="black"/>
                </a:solidFill>
                <a:latin typeface="Times New Roman"/>
                <a:cs typeface="Times New Roman"/>
              </a:rPr>
              <a:t>possible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85801" lvl="1" indent="-485801" defTabSz="806867">
              <a:spcBef>
                <a:spcPts val="984"/>
              </a:spcBef>
              <a:buClr>
                <a:srgbClr val="008EC1"/>
              </a:buClr>
              <a:buFontTx/>
              <a:buChar char="•"/>
              <a:tabLst>
                <a:tab pos="485801" algn="l"/>
                <a:tab pos="486361" algn="l"/>
              </a:tabLst>
            </a:pPr>
            <a:r>
              <a:rPr sz="1235" spc="110" dirty="0">
                <a:solidFill>
                  <a:prstClr val="black"/>
                </a:solidFill>
                <a:latin typeface="Times New Roman"/>
                <a:cs typeface="Times New Roman"/>
              </a:rPr>
              <a:t>Pas</a:t>
            </a:r>
            <a:r>
              <a:rPr sz="1235" spc="26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75" dirty="0">
                <a:solidFill>
                  <a:prstClr val="black"/>
                </a:solidFill>
                <a:latin typeface="Times New Roman"/>
                <a:cs typeface="Times New Roman"/>
              </a:rPr>
              <a:t>d’effet</a:t>
            </a:r>
            <a:r>
              <a:rPr sz="1235" spc="13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41" dirty="0">
                <a:solidFill>
                  <a:prstClr val="black"/>
                </a:solidFill>
                <a:latin typeface="Times New Roman"/>
                <a:cs typeface="Times New Roman"/>
              </a:rPr>
              <a:t>mémoire</a:t>
            </a:r>
            <a:r>
              <a:rPr sz="1235" spc="22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19" dirty="0">
                <a:solidFill>
                  <a:prstClr val="black"/>
                </a:solidFill>
                <a:latin typeface="Times New Roman"/>
                <a:cs typeface="Times New Roman"/>
              </a:rPr>
              <a:t>contrairement</a:t>
            </a:r>
            <a:r>
              <a:rPr sz="1235" spc="49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269" dirty="0">
                <a:solidFill>
                  <a:prstClr val="black"/>
                </a:solidFill>
                <a:latin typeface="Times New Roman"/>
                <a:cs typeface="Times New Roman"/>
              </a:rPr>
              <a:t>à</a:t>
            </a:r>
            <a:r>
              <a:rPr sz="1235" spc="22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06" dirty="0">
                <a:solidFill>
                  <a:prstClr val="black"/>
                </a:solidFill>
                <a:latin typeface="Times New Roman"/>
                <a:cs typeface="Times New Roman"/>
              </a:rPr>
              <a:t>Ni/Cd</a:t>
            </a:r>
            <a:r>
              <a:rPr sz="1235" spc="22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50" dirty="0">
                <a:solidFill>
                  <a:prstClr val="black"/>
                </a:solidFill>
                <a:latin typeface="Times New Roman"/>
                <a:cs typeface="Times New Roman"/>
              </a:rPr>
              <a:t>ou</a:t>
            </a:r>
            <a:r>
              <a:rPr sz="1235" spc="22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35" dirty="0">
                <a:solidFill>
                  <a:prstClr val="black"/>
                </a:solidFill>
                <a:latin typeface="Times New Roman"/>
                <a:cs typeface="Times New Roman"/>
              </a:rPr>
              <a:t>Ni/MH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85801" lvl="1" indent="-485801" defTabSz="806867">
              <a:spcBef>
                <a:spcPts val="984"/>
              </a:spcBef>
              <a:buClr>
                <a:srgbClr val="008EC1"/>
              </a:buClr>
              <a:buFontTx/>
              <a:buChar char="•"/>
              <a:tabLst>
                <a:tab pos="485801" algn="l"/>
                <a:tab pos="486361" algn="l"/>
              </a:tabLst>
            </a:pPr>
            <a:r>
              <a:rPr sz="1235" spc="97" dirty="0">
                <a:solidFill>
                  <a:prstClr val="black"/>
                </a:solidFill>
                <a:latin typeface="Times New Roman"/>
                <a:cs typeface="Times New Roman"/>
              </a:rPr>
              <a:t>Sécurité</a:t>
            </a:r>
            <a:r>
              <a:rPr sz="1235" spc="31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75" dirty="0">
                <a:solidFill>
                  <a:prstClr val="black"/>
                </a:solidFill>
                <a:latin typeface="Times New Roman"/>
                <a:cs typeface="Times New Roman"/>
              </a:rPr>
              <a:t>très</a:t>
            </a:r>
            <a:r>
              <a:rPr sz="1235" spc="26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41" dirty="0">
                <a:solidFill>
                  <a:prstClr val="black"/>
                </a:solidFill>
                <a:latin typeface="Times New Roman"/>
                <a:cs typeface="Times New Roman"/>
              </a:rPr>
              <a:t>améliorée</a:t>
            </a:r>
            <a:r>
              <a:rPr sz="1235" spc="22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50" dirty="0">
                <a:solidFill>
                  <a:prstClr val="black"/>
                </a:solidFill>
                <a:latin typeface="Times New Roman"/>
                <a:cs typeface="Times New Roman"/>
              </a:rPr>
              <a:t>par</a:t>
            </a:r>
            <a:r>
              <a:rPr sz="1235" spc="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15" dirty="0">
                <a:solidFill>
                  <a:prstClr val="black"/>
                </a:solidFill>
                <a:latin typeface="Times New Roman"/>
                <a:cs typeface="Times New Roman"/>
              </a:rPr>
              <a:t>rapport</a:t>
            </a:r>
            <a:r>
              <a:rPr sz="1235" spc="49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90" dirty="0">
                <a:solidFill>
                  <a:prstClr val="black"/>
                </a:solidFill>
                <a:latin typeface="Times New Roman"/>
                <a:cs typeface="Times New Roman"/>
              </a:rPr>
              <a:t>au</a:t>
            </a:r>
            <a:r>
              <a:rPr sz="1235" spc="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44" dirty="0">
                <a:solidFill>
                  <a:prstClr val="black"/>
                </a:solidFill>
                <a:latin typeface="Times New Roman"/>
                <a:cs typeface="Times New Roman"/>
              </a:rPr>
              <a:t>lithium</a:t>
            </a:r>
            <a:r>
              <a:rPr sz="1235" spc="26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37" dirty="0">
                <a:solidFill>
                  <a:prstClr val="black"/>
                </a:solidFill>
                <a:latin typeface="Times New Roman"/>
                <a:cs typeface="Times New Roman"/>
              </a:rPr>
              <a:t>métal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85801" lvl="1" indent="-485801" defTabSz="806867">
              <a:spcBef>
                <a:spcPts val="997"/>
              </a:spcBef>
              <a:buClr>
                <a:srgbClr val="008EC1"/>
              </a:buClr>
              <a:buFontTx/>
              <a:buChar char="•"/>
              <a:tabLst>
                <a:tab pos="485801" algn="l"/>
                <a:tab pos="486361" algn="l"/>
              </a:tabLst>
            </a:pPr>
            <a:r>
              <a:rPr sz="1235" spc="106" dirty="0">
                <a:solidFill>
                  <a:prstClr val="black"/>
                </a:solidFill>
                <a:latin typeface="Times New Roman"/>
                <a:cs typeface="Times New Roman"/>
              </a:rPr>
              <a:t>Technologie</a:t>
            </a:r>
            <a:r>
              <a:rPr sz="1235" spc="26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79" dirty="0">
                <a:solidFill>
                  <a:prstClr val="black"/>
                </a:solidFill>
                <a:latin typeface="Times New Roman"/>
                <a:cs typeface="Times New Roman"/>
              </a:rPr>
              <a:t>très</a:t>
            </a:r>
            <a:r>
              <a:rPr sz="1235" spc="4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66" dirty="0">
                <a:solidFill>
                  <a:prstClr val="black"/>
                </a:solidFill>
                <a:latin typeface="Times New Roman"/>
                <a:cs typeface="Times New Roman"/>
              </a:rPr>
              <a:t>flexible</a:t>
            </a:r>
            <a:r>
              <a:rPr sz="1235" spc="26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80" dirty="0">
                <a:solidFill>
                  <a:prstClr val="black"/>
                </a:solidFill>
                <a:latin typeface="Times New Roman"/>
                <a:cs typeface="Times New Roman"/>
              </a:rPr>
              <a:t>en</a:t>
            </a:r>
            <a:r>
              <a:rPr sz="1235" spc="4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24" dirty="0">
                <a:solidFill>
                  <a:prstClr val="black"/>
                </a:solidFill>
                <a:latin typeface="Times New Roman"/>
                <a:cs typeface="Times New Roman"/>
              </a:rPr>
              <a:t>termes</a:t>
            </a:r>
            <a:r>
              <a:rPr sz="1235" spc="4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221" dirty="0">
                <a:solidFill>
                  <a:prstClr val="black"/>
                </a:solidFill>
                <a:latin typeface="Times New Roman"/>
                <a:cs typeface="Times New Roman"/>
              </a:rPr>
              <a:t>de</a:t>
            </a:r>
            <a:r>
              <a:rPr sz="1235" spc="26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79" dirty="0">
                <a:solidFill>
                  <a:prstClr val="black"/>
                </a:solidFill>
                <a:latin typeface="Times New Roman"/>
                <a:cs typeface="Times New Roman"/>
              </a:rPr>
              <a:t>ratio</a:t>
            </a:r>
            <a:r>
              <a:rPr sz="1235" spc="53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37" dirty="0">
                <a:solidFill>
                  <a:prstClr val="black"/>
                </a:solidFill>
                <a:latin typeface="Times New Roman"/>
                <a:cs typeface="Times New Roman"/>
              </a:rPr>
              <a:t>puissance</a:t>
            </a:r>
            <a:r>
              <a:rPr sz="1235" spc="4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37" dirty="0">
                <a:solidFill>
                  <a:prstClr val="black"/>
                </a:solidFill>
                <a:latin typeface="Times New Roman"/>
                <a:cs typeface="Times New Roman"/>
              </a:rPr>
              <a:t>/énergie.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061883" y="1011218"/>
            <a:ext cx="8068235" cy="10085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9570720" y="6154718"/>
            <a:ext cx="145228" cy="9412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9793941" y="6173545"/>
            <a:ext cx="48745" cy="75640"/>
          </a:xfrm>
          <a:custGeom>
            <a:avLst/>
            <a:gdLst/>
            <a:ahLst/>
            <a:cxnLst/>
            <a:rect l="l" t="t" r="r" b="b"/>
            <a:pathLst>
              <a:path w="55245" h="85725">
                <a:moveTo>
                  <a:pt x="0" y="0"/>
                </a:moveTo>
                <a:lnTo>
                  <a:pt x="54864" y="0"/>
                </a:lnTo>
                <a:lnTo>
                  <a:pt x="54864" y="85344"/>
                </a:lnTo>
                <a:lnTo>
                  <a:pt x="0" y="85344"/>
                </a:lnTo>
                <a:lnTo>
                  <a:pt x="0" y="0"/>
                </a:lnTo>
                <a:close/>
              </a:path>
            </a:pathLst>
          </a:custGeom>
          <a:solidFill>
            <a:srgbClr val="C11F2D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9740153" y="6164804"/>
            <a:ext cx="156322" cy="0"/>
          </a:xfrm>
          <a:custGeom>
            <a:avLst/>
            <a:gdLst/>
            <a:ahLst/>
            <a:cxnLst/>
            <a:rect l="l" t="t" r="r" b="b"/>
            <a:pathLst>
              <a:path w="177165">
                <a:moveTo>
                  <a:pt x="0" y="0"/>
                </a:moveTo>
                <a:lnTo>
                  <a:pt x="176784" y="0"/>
                </a:lnTo>
              </a:path>
            </a:pathLst>
          </a:custGeom>
          <a:ln w="22860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9194201" y="6154718"/>
            <a:ext cx="151952" cy="9412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9373048" y="6154718"/>
            <a:ext cx="160020" cy="9412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9194202" y="6312722"/>
            <a:ext cx="705971" cy="0"/>
          </a:xfrm>
          <a:custGeom>
            <a:avLst/>
            <a:gdLst/>
            <a:ahLst/>
            <a:cxnLst/>
            <a:rect l="l" t="t" r="r" b="b"/>
            <a:pathLst>
              <a:path w="800100">
                <a:moveTo>
                  <a:pt x="0" y="0"/>
                </a:moveTo>
                <a:lnTo>
                  <a:pt x="800100" y="0"/>
                </a:lnTo>
              </a:path>
            </a:pathLst>
          </a:custGeom>
          <a:ln w="53340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2538581" y="6196405"/>
            <a:ext cx="0" cy="118782"/>
          </a:xfrm>
          <a:custGeom>
            <a:avLst/>
            <a:gdLst/>
            <a:ahLst/>
            <a:cxnLst/>
            <a:rect l="l" t="t" r="r" b="b"/>
            <a:pathLst>
              <a:path h="134620">
                <a:moveTo>
                  <a:pt x="0" y="0"/>
                </a:moveTo>
                <a:lnTo>
                  <a:pt x="0" y="134112"/>
                </a:lnTo>
              </a:path>
            </a:pathLst>
          </a:custGeom>
          <a:ln w="10668">
            <a:solidFill>
              <a:srgbClr val="595959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061883" y="1210236"/>
            <a:ext cx="8068235" cy="44778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2665228" y="698796"/>
            <a:ext cx="4122084" cy="309421"/>
          </a:xfrm>
          <a:prstGeom prst="rect">
            <a:avLst/>
          </a:prstGeom>
        </p:spPr>
        <p:txBody>
          <a:bodyPr vert="horz" wrap="square" lIns="0" tIns="10646" rIns="0" bIns="0" rtlCol="0">
            <a:spAutoFit/>
          </a:bodyPr>
          <a:lstStyle/>
          <a:p>
            <a:pPr marL="11206">
              <a:spcBef>
                <a:spcPts val="84"/>
              </a:spcBef>
            </a:pPr>
            <a:r>
              <a:rPr sz="1941" spc="168" dirty="0">
                <a:solidFill>
                  <a:srgbClr val="004660"/>
                </a:solidFill>
              </a:rPr>
              <a:t>L’accumulateur </a:t>
            </a:r>
            <a:r>
              <a:rPr sz="1941" spc="22" dirty="0">
                <a:solidFill>
                  <a:srgbClr val="004660"/>
                </a:solidFill>
              </a:rPr>
              <a:t>Li-ion </a:t>
            </a:r>
            <a:r>
              <a:rPr sz="1941" dirty="0">
                <a:solidFill>
                  <a:srgbClr val="004660"/>
                </a:solidFill>
              </a:rPr>
              <a:t>:</a:t>
            </a:r>
            <a:r>
              <a:rPr sz="1941" spc="-62" dirty="0">
                <a:solidFill>
                  <a:srgbClr val="004660"/>
                </a:solidFill>
              </a:rPr>
              <a:t> </a:t>
            </a:r>
            <a:r>
              <a:rPr sz="1941" spc="172" dirty="0">
                <a:solidFill>
                  <a:srgbClr val="004660"/>
                </a:solidFill>
              </a:rPr>
              <a:t>contraintes</a:t>
            </a:r>
            <a:endParaRPr sz="1941"/>
          </a:p>
        </p:txBody>
      </p:sp>
      <p:sp>
        <p:nvSpPr>
          <p:cNvPr id="13" name="object 13"/>
          <p:cNvSpPr txBox="1"/>
          <p:nvPr/>
        </p:nvSpPr>
        <p:spPr>
          <a:xfrm>
            <a:off x="2207590" y="6115668"/>
            <a:ext cx="267821" cy="261901"/>
          </a:xfrm>
          <a:prstGeom prst="rect">
            <a:avLst/>
          </a:prstGeom>
        </p:spPr>
        <p:txBody>
          <a:bodyPr vert="horz" wrap="square" lIns="0" tIns="17369" rIns="0" bIns="0" rtlCol="0">
            <a:spAutoFit/>
          </a:bodyPr>
          <a:lstStyle/>
          <a:p>
            <a:pPr marL="22413" defTabSz="806867">
              <a:spcBef>
                <a:spcPts val="137"/>
              </a:spcBef>
            </a:pPr>
            <a:fld id="{81D60167-4931-47E6-BA6A-407CBD079E47}" type="slidenum">
              <a:rPr sz="1588" spc="84" dirty="0">
                <a:solidFill>
                  <a:prstClr val="black"/>
                </a:solidFill>
                <a:latin typeface="Times New Roman"/>
                <a:cs typeface="Times New Roman"/>
              </a:rPr>
              <a:pPr marL="22413" defTabSz="806867">
                <a:spcBef>
                  <a:spcPts val="137"/>
                </a:spcBef>
              </a:pPr>
              <a:t>12</a:t>
            </a:fld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ftr" sz="quarter" idx="5"/>
          </p:nvPr>
        </p:nvSpPr>
        <p:spPr>
          <a:xfrm>
            <a:off x="1266642" y="6156040"/>
            <a:ext cx="831273" cy="2172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fr-FR"/>
            </a:defPPr>
            <a:lvl1pPr marL="0" algn="l" defTabSz="457200" rtl="0" eaLnBrk="1" latinLnBrk="0" hangingPunct="1">
              <a:defRPr sz="706" b="0" i="0" kern="1200">
                <a:solidFill>
                  <a:schemeClr val="tx1"/>
                </a:solidFill>
                <a:latin typeface="Times New Roman"/>
                <a:ea typeface="+mn-ea"/>
                <a:cs typeface="Times New Roman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206" marR="4483" defTabSz="806867">
              <a:spcBef>
                <a:spcPts val="13"/>
              </a:spcBef>
            </a:pPr>
            <a:r>
              <a:rPr lang="sv-SE" spc="-26"/>
              <a:t>EVOLIS- </a:t>
            </a:r>
            <a:r>
              <a:rPr lang="sv-SE" spc="35"/>
              <a:t>Saft  </a:t>
            </a:r>
            <a:r>
              <a:rPr lang="sv-SE" spc="22"/>
              <a:t>6-7 </a:t>
            </a:r>
            <a:r>
              <a:rPr lang="sv-SE" spc="31"/>
              <a:t>NOV</a:t>
            </a:r>
            <a:r>
              <a:rPr lang="sv-SE" spc="-62"/>
              <a:t> </a:t>
            </a:r>
            <a:r>
              <a:rPr lang="sv-SE" spc="31"/>
              <a:t>2019</a:t>
            </a:r>
            <a:endParaRPr spc="31" dirty="0">
              <a:solidFill>
                <a:prstClr val="black"/>
              </a:solidFill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5018449" y="6185411"/>
            <a:ext cx="2180104" cy="1222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206" defTabSz="806867"/>
            <a:r>
              <a:rPr sz="794" spc="49" dirty="0">
                <a:solidFill>
                  <a:prstClr val="black"/>
                </a:solidFill>
                <a:latin typeface="Times New Roman"/>
                <a:cs typeface="Times New Roman"/>
              </a:rPr>
              <a:t>Informations </a:t>
            </a:r>
            <a:r>
              <a:rPr sz="794" spc="71" dirty="0">
                <a:solidFill>
                  <a:prstClr val="black"/>
                </a:solidFill>
                <a:latin typeface="Times New Roman"/>
                <a:cs typeface="Times New Roman"/>
              </a:rPr>
              <a:t>propriété </a:t>
            </a:r>
            <a:r>
              <a:rPr sz="794" spc="150" dirty="0">
                <a:solidFill>
                  <a:prstClr val="black"/>
                </a:solidFill>
                <a:latin typeface="Times New Roman"/>
                <a:cs typeface="Times New Roman"/>
              </a:rPr>
              <a:t>de</a:t>
            </a:r>
            <a:r>
              <a:rPr sz="794" spc="-79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794" spc="40" dirty="0">
                <a:solidFill>
                  <a:prstClr val="black"/>
                </a:solidFill>
                <a:latin typeface="Times New Roman"/>
                <a:cs typeface="Times New Roman"/>
              </a:rPr>
              <a:t>Saft </a:t>
            </a:r>
            <a:r>
              <a:rPr sz="794" dirty="0">
                <a:solidFill>
                  <a:prstClr val="black"/>
                </a:solidFill>
                <a:latin typeface="Times New Roman"/>
                <a:cs typeface="Times New Roman"/>
              </a:rPr>
              <a:t>– </a:t>
            </a:r>
            <a:r>
              <a:rPr sz="794" spc="57" dirty="0">
                <a:solidFill>
                  <a:prstClr val="black"/>
                </a:solidFill>
                <a:latin typeface="Times New Roman"/>
                <a:cs typeface="Times New Roman"/>
              </a:rPr>
              <a:t>Confidentiel</a:t>
            </a:r>
            <a:endParaRPr sz="794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277898" y="1420376"/>
            <a:ext cx="7446869" cy="4533719"/>
          </a:xfrm>
          <a:prstGeom prst="rect">
            <a:avLst/>
          </a:prstGeom>
        </p:spPr>
        <p:txBody>
          <a:bodyPr vert="horz" wrap="square" lIns="0" tIns="124946" rIns="0" bIns="0" rtlCol="0">
            <a:spAutoFit/>
          </a:bodyPr>
          <a:lstStyle/>
          <a:p>
            <a:pPr marL="316023" indent="-304816" defTabSz="806867">
              <a:spcBef>
                <a:spcPts val="984"/>
              </a:spcBef>
              <a:buClr>
                <a:srgbClr val="112F52"/>
              </a:buClr>
              <a:buSzPct val="108333"/>
              <a:buFontTx/>
              <a:buChar char="–"/>
              <a:tabLst>
                <a:tab pos="316023" algn="l"/>
                <a:tab pos="316583" algn="l"/>
              </a:tabLst>
            </a:pPr>
            <a:r>
              <a:rPr sz="1588" spc="124" dirty="0">
                <a:solidFill>
                  <a:prstClr val="black"/>
                </a:solidFill>
                <a:latin typeface="Times New Roman"/>
                <a:cs typeface="Times New Roman"/>
              </a:rPr>
              <a:t>Fabrication</a:t>
            </a:r>
            <a:r>
              <a:rPr sz="1588" spc="31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207" dirty="0">
                <a:solidFill>
                  <a:prstClr val="black"/>
                </a:solidFill>
                <a:latin typeface="Times New Roman"/>
                <a:cs typeface="Times New Roman"/>
              </a:rPr>
              <a:t>dans</a:t>
            </a:r>
            <a:r>
              <a:rPr sz="1588" spc="49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212" dirty="0">
                <a:solidFill>
                  <a:prstClr val="black"/>
                </a:solidFill>
                <a:latin typeface="Times New Roman"/>
                <a:cs typeface="Times New Roman"/>
              </a:rPr>
              <a:t>des</a:t>
            </a:r>
            <a:r>
              <a:rPr sz="1588" spc="31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28" dirty="0">
                <a:solidFill>
                  <a:prstClr val="black"/>
                </a:solidFill>
                <a:latin typeface="Times New Roman"/>
                <a:cs typeface="Times New Roman"/>
              </a:rPr>
              <a:t>conditions</a:t>
            </a:r>
            <a:r>
              <a:rPr sz="1588" spc="31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10" dirty="0">
                <a:solidFill>
                  <a:prstClr val="black"/>
                </a:solidFill>
                <a:latin typeface="Times New Roman"/>
                <a:cs typeface="Times New Roman"/>
              </a:rPr>
              <a:t>particulières:</a:t>
            </a:r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318824" marR="3374831" lvl="1" indent="-72282" defTabSz="806867">
              <a:lnSpc>
                <a:spcPts val="2471"/>
              </a:lnSpc>
              <a:spcBef>
                <a:spcPts val="44"/>
              </a:spcBef>
              <a:buClr>
                <a:srgbClr val="008EC1"/>
              </a:buClr>
              <a:buFontTx/>
              <a:buChar char="•"/>
              <a:tabLst>
                <a:tab pos="485801" algn="l"/>
                <a:tab pos="486361" algn="l"/>
              </a:tabLst>
            </a:pPr>
            <a:r>
              <a:rPr sz="1235" u="heavy" spc="75" dirty="0">
                <a:solidFill>
                  <a:prstClr val="black"/>
                </a:solidFill>
                <a:uFill>
                  <a:solidFill>
                    <a:srgbClr val="000000"/>
                  </a:solidFill>
                </a:uFill>
                <a:latin typeface="Times New Roman"/>
                <a:cs typeface="Times New Roman"/>
              </a:rPr>
              <a:t>Salle</a:t>
            </a:r>
            <a:r>
              <a:rPr sz="1235" u="heavy" spc="18" dirty="0">
                <a:solidFill>
                  <a:prstClr val="black"/>
                </a:solidFill>
                <a:uFill>
                  <a:solidFill>
                    <a:srgbClr val="000000"/>
                  </a:solidFill>
                </a:uFill>
                <a:latin typeface="Times New Roman"/>
                <a:cs typeface="Times New Roman"/>
              </a:rPr>
              <a:t> </a:t>
            </a:r>
            <a:r>
              <a:rPr sz="1235" u="heavy" spc="269" dirty="0">
                <a:solidFill>
                  <a:prstClr val="black"/>
                </a:solidFill>
                <a:uFill>
                  <a:solidFill>
                    <a:srgbClr val="000000"/>
                  </a:solidFill>
                </a:uFill>
                <a:latin typeface="Times New Roman"/>
                <a:cs typeface="Times New Roman"/>
              </a:rPr>
              <a:t>à</a:t>
            </a:r>
            <a:r>
              <a:rPr sz="1235" u="heavy" spc="18" dirty="0">
                <a:solidFill>
                  <a:prstClr val="black"/>
                </a:solidFill>
                <a:uFill>
                  <a:solidFill>
                    <a:srgbClr val="000000"/>
                  </a:solidFill>
                </a:uFill>
                <a:latin typeface="Times New Roman"/>
                <a:cs typeface="Times New Roman"/>
              </a:rPr>
              <a:t> </a:t>
            </a:r>
            <a:r>
              <a:rPr sz="1235" u="heavy" spc="101" dirty="0">
                <a:solidFill>
                  <a:prstClr val="black"/>
                </a:solidFill>
                <a:uFill>
                  <a:solidFill>
                    <a:srgbClr val="000000"/>
                  </a:solidFill>
                </a:uFill>
                <a:latin typeface="Times New Roman"/>
                <a:cs typeface="Times New Roman"/>
              </a:rPr>
              <a:t>humidité</a:t>
            </a:r>
            <a:r>
              <a:rPr sz="1235" u="heavy" spc="22" dirty="0">
                <a:solidFill>
                  <a:prstClr val="black"/>
                </a:solidFill>
                <a:uFill>
                  <a:solidFill>
                    <a:srgbClr val="000000"/>
                  </a:solidFill>
                </a:uFill>
                <a:latin typeface="Times New Roman"/>
                <a:cs typeface="Times New Roman"/>
              </a:rPr>
              <a:t> </a:t>
            </a:r>
            <a:r>
              <a:rPr sz="1235" u="heavy" spc="128" dirty="0">
                <a:solidFill>
                  <a:prstClr val="black"/>
                </a:solidFill>
                <a:uFill>
                  <a:solidFill>
                    <a:srgbClr val="000000"/>
                  </a:solidFill>
                </a:uFill>
                <a:latin typeface="Times New Roman"/>
                <a:cs typeface="Times New Roman"/>
              </a:rPr>
              <a:t>contrôlée</a:t>
            </a:r>
            <a:r>
              <a:rPr sz="1235" u="heavy" spc="44" dirty="0">
                <a:solidFill>
                  <a:prstClr val="black"/>
                </a:solidFill>
                <a:uFill>
                  <a:solidFill>
                    <a:srgbClr val="000000"/>
                  </a:solidFill>
                </a:uFill>
                <a:latin typeface="Times New Roman"/>
                <a:cs typeface="Times New Roman"/>
              </a:rPr>
              <a:t> </a:t>
            </a:r>
            <a:r>
              <a:rPr sz="1235" u="heavy" spc="93" dirty="0">
                <a:solidFill>
                  <a:prstClr val="black"/>
                </a:solidFill>
                <a:uFill>
                  <a:solidFill>
                    <a:srgbClr val="000000"/>
                  </a:solidFill>
                </a:uFill>
                <a:latin typeface="Times New Roman"/>
                <a:cs typeface="Times New Roman"/>
              </a:rPr>
              <a:t>(dite</a:t>
            </a:r>
            <a:r>
              <a:rPr sz="1235" u="heavy" spc="44" dirty="0">
                <a:solidFill>
                  <a:prstClr val="black"/>
                </a:solidFill>
                <a:uFill>
                  <a:solidFill>
                    <a:srgbClr val="000000"/>
                  </a:solidFill>
                </a:uFill>
                <a:latin typeface="Times New Roman"/>
                <a:cs typeface="Times New Roman"/>
              </a:rPr>
              <a:t> </a:t>
            </a:r>
            <a:r>
              <a:rPr sz="1235" u="heavy" spc="-53" dirty="0">
                <a:solidFill>
                  <a:prstClr val="black"/>
                </a:solidFill>
                <a:uFill>
                  <a:solidFill>
                    <a:srgbClr val="000000"/>
                  </a:solidFill>
                </a:uFill>
                <a:latin typeface="Times New Roman"/>
                <a:cs typeface="Times New Roman"/>
              </a:rPr>
              <a:t>«</a:t>
            </a:r>
            <a:r>
              <a:rPr sz="1235" u="heavy" spc="35" dirty="0">
                <a:solidFill>
                  <a:prstClr val="black"/>
                </a:solidFill>
                <a:uFill>
                  <a:solidFill>
                    <a:srgbClr val="000000"/>
                  </a:solidFill>
                </a:uFill>
                <a:latin typeface="Times New Roman"/>
                <a:cs typeface="Times New Roman"/>
              </a:rPr>
              <a:t> </a:t>
            </a:r>
            <a:r>
              <a:rPr sz="1235" u="heavy" spc="93" dirty="0">
                <a:solidFill>
                  <a:prstClr val="black"/>
                </a:solidFill>
                <a:uFill>
                  <a:solidFill>
                    <a:srgbClr val="000000"/>
                  </a:solidFill>
                </a:uFill>
                <a:latin typeface="Times New Roman"/>
                <a:cs typeface="Times New Roman"/>
              </a:rPr>
              <a:t>salle</a:t>
            </a:r>
            <a:r>
              <a:rPr sz="1235" u="heavy" spc="31" dirty="0">
                <a:solidFill>
                  <a:prstClr val="black"/>
                </a:solidFill>
                <a:uFill>
                  <a:solidFill>
                    <a:srgbClr val="000000"/>
                  </a:solidFill>
                </a:uFill>
                <a:latin typeface="Times New Roman"/>
                <a:cs typeface="Times New Roman"/>
              </a:rPr>
              <a:t> </a:t>
            </a:r>
            <a:r>
              <a:rPr sz="1235" u="heavy" spc="180" dirty="0">
                <a:solidFill>
                  <a:prstClr val="black"/>
                </a:solidFill>
                <a:uFill>
                  <a:solidFill>
                    <a:srgbClr val="000000"/>
                  </a:solidFill>
                </a:uFill>
                <a:latin typeface="Times New Roman"/>
                <a:cs typeface="Times New Roman"/>
              </a:rPr>
              <a:t>sèche</a:t>
            </a:r>
            <a:r>
              <a:rPr sz="1235" u="heavy" spc="44" dirty="0">
                <a:solidFill>
                  <a:prstClr val="black"/>
                </a:solidFill>
                <a:uFill>
                  <a:solidFill>
                    <a:srgbClr val="000000"/>
                  </a:solidFill>
                </a:uFill>
                <a:latin typeface="Times New Roman"/>
                <a:cs typeface="Times New Roman"/>
              </a:rPr>
              <a:t> </a:t>
            </a:r>
            <a:r>
              <a:rPr sz="1235" u="heavy" spc="4" dirty="0">
                <a:solidFill>
                  <a:prstClr val="black"/>
                </a:solidFill>
                <a:uFill>
                  <a:solidFill>
                    <a:srgbClr val="000000"/>
                  </a:solidFill>
                </a:uFill>
                <a:latin typeface="Times New Roman"/>
                <a:cs typeface="Times New Roman"/>
              </a:rPr>
              <a:t>») </a:t>
            </a:r>
            <a:r>
              <a:rPr sz="1235" spc="4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53" dirty="0">
                <a:solidFill>
                  <a:prstClr val="black"/>
                </a:solidFill>
                <a:latin typeface="Times New Roman"/>
                <a:cs typeface="Times New Roman"/>
              </a:rPr>
              <a:t>Point</a:t>
            </a:r>
            <a:r>
              <a:rPr sz="1235" spc="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212" dirty="0">
                <a:solidFill>
                  <a:prstClr val="black"/>
                </a:solidFill>
                <a:latin typeface="Times New Roman"/>
                <a:cs typeface="Times New Roman"/>
              </a:rPr>
              <a:t>de</a:t>
            </a:r>
            <a:r>
              <a:rPr sz="1235" spc="49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37" dirty="0">
                <a:solidFill>
                  <a:prstClr val="black"/>
                </a:solidFill>
                <a:latin typeface="Times New Roman"/>
                <a:cs typeface="Times New Roman"/>
              </a:rPr>
              <a:t>rosée</a:t>
            </a:r>
            <a:r>
              <a:rPr sz="1235" spc="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06" dirty="0">
                <a:solidFill>
                  <a:prstClr val="black"/>
                </a:solidFill>
                <a:latin typeface="Times New Roman"/>
                <a:cs typeface="Times New Roman"/>
              </a:rPr>
              <a:t>-</a:t>
            </a:r>
            <a:r>
              <a:rPr sz="1235" spc="4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75" dirty="0">
                <a:solidFill>
                  <a:prstClr val="black"/>
                </a:solidFill>
                <a:latin typeface="Times New Roman"/>
                <a:cs typeface="Times New Roman"/>
              </a:rPr>
              <a:t>40°C</a:t>
            </a:r>
            <a:r>
              <a:rPr sz="1235" spc="357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49" dirty="0">
                <a:solidFill>
                  <a:prstClr val="black"/>
                </a:solidFill>
                <a:latin typeface="Times New Roman"/>
                <a:cs typeface="Times New Roman"/>
              </a:rPr>
              <a:t>(soit</a:t>
            </a:r>
            <a:r>
              <a:rPr sz="1235" spc="4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71" dirty="0">
                <a:solidFill>
                  <a:prstClr val="black"/>
                </a:solidFill>
                <a:latin typeface="Times New Roman"/>
                <a:cs typeface="Times New Roman"/>
              </a:rPr>
              <a:t>0,078</a:t>
            </a:r>
            <a:r>
              <a:rPr sz="1235" spc="13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99" dirty="0">
                <a:solidFill>
                  <a:prstClr val="black"/>
                </a:solidFill>
                <a:latin typeface="Times New Roman"/>
                <a:cs typeface="Times New Roman"/>
              </a:rPr>
              <a:t>g</a:t>
            </a:r>
            <a:r>
              <a:rPr sz="1235" spc="22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212" dirty="0">
                <a:solidFill>
                  <a:prstClr val="black"/>
                </a:solidFill>
                <a:latin typeface="Times New Roman"/>
                <a:cs typeface="Times New Roman"/>
              </a:rPr>
              <a:t>eau</a:t>
            </a:r>
            <a:r>
              <a:rPr sz="1235" spc="22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72" dirty="0">
                <a:solidFill>
                  <a:prstClr val="black"/>
                </a:solidFill>
                <a:latin typeface="Times New Roman"/>
                <a:cs typeface="Times New Roman"/>
              </a:rPr>
              <a:t>/kg</a:t>
            </a:r>
            <a:r>
              <a:rPr sz="1235" spc="4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62" dirty="0">
                <a:solidFill>
                  <a:prstClr val="black"/>
                </a:solidFill>
                <a:latin typeface="Times New Roman"/>
                <a:cs typeface="Times New Roman"/>
              </a:rPr>
              <a:t>air)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318824" defTabSz="806867">
              <a:spcBef>
                <a:spcPts val="732"/>
              </a:spcBef>
            </a:pPr>
            <a:r>
              <a:rPr sz="1235" spc="119" dirty="0">
                <a:solidFill>
                  <a:prstClr val="black"/>
                </a:solidFill>
                <a:latin typeface="Times New Roman"/>
                <a:cs typeface="Times New Roman"/>
              </a:rPr>
              <a:t>Consignes</a:t>
            </a:r>
            <a:r>
              <a:rPr sz="1235" spc="26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269" dirty="0">
                <a:solidFill>
                  <a:prstClr val="black"/>
                </a:solidFill>
                <a:latin typeface="Times New Roman"/>
                <a:cs typeface="Times New Roman"/>
              </a:rPr>
              <a:t>à</a:t>
            </a:r>
            <a:r>
              <a:rPr sz="1235" spc="22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32" dirty="0">
                <a:solidFill>
                  <a:prstClr val="black"/>
                </a:solidFill>
                <a:latin typeface="Times New Roman"/>
                <a:cs typeface="Times New Roman"/>
              </a:rPr>
              <a:t>respecter</a:t>
            </a:r>
            <a:r>
              <a:rPr sz="1235" spc="49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dirty="0">
                <a:solidFill>
                  <a:prstClr val="black"/>
                </a:solidFill>
                <a:latin typeface="Times New Roman"/>
                <a:cs typeface="Times New Roman"/>
              </a:rPr>
              <a:t>:</a:t>
            </a:r>
            <a:r>
              <a:rPr sz="1235" spc="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62" dirty="0">
                <a:solidFill>
                  <a:prstClr val="black"/>
                </a:solidFill>
                <a:latin typeface="Times New Roman"/>
                <a:cs typeface="Times New Roman"/>
              </a:rPr>
              <a:t>limitation</a:t>
            </a:r>
            <a:r>
              <a:rPr sz="1235" spc="22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59" dirty="0">
                <a:solidFill>
                  <a:prstClr val="black"/>
                </a:solidFill>
                <a:latin typeface="Times New Roman"/>
                <a:cs typeface="Times New Roman"/>
              </a:rPr>
              <a:t>du</a:t>
            </a:r>
            <a:r>
              <a:rPr sz="1235" spc="4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54" dirty="0">
                <a:solidFill>
                  <a:prstClr val="black"/>
                </a:solidFill>
                <a:latin typeface="Times New Roman"/>
                <a:cs typeface="Times New Roman"/>
              </a:rPr>
              <a:t>nombre</a:t>
            </a:r>
            <a:r>
              <a:rPr sz="1235" spc="22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221" dirty="0">
                <a:solidFill>
                  <a:prstClr val="black"/>
                </a:solidFill>
                <a:latin typeface="Times New Roman"/>
                <a:cs typeface="Times New Roman"/>
              </a:rPr>
              <a:t>de</a:t>
            </a:r>
            <a:r>
              <a:rPr sz="1235" spc="22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24" dirty="0">
                <a:solidFill>
                  <a:prstClr val="black"/>
                </a:solidFill>
                <a:latin typeface="Times New Roman"/>
                <a:cs typeface="Times New Roman"/>
              </a:rPr>
              <a:t>personnes,</a:t>
            </a:r>
            <a:r>
              <a:rPr sz="1235" spc="26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93" dirty="0">
                <a:solidFill>
                  <a:prstClr val="black"/>
                </a:solidFill>
                <a:latin typeface="Times New Roman"/>
                <a:cs typeface="Times New Roman"/>
              </a:rPr>
              <a:t>port</a:t>
            </a:r>
            <a:r>
              <a:rPr sz="1235" spc="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221" dirty="0">
                <a:solidFill>
                  <a:prstClr val="black"/>
                </a:solidFill>
                <a:latin typeface="Times New Roman"/>
                <a:cs typeface="Times New Roman"/>
              </a:rPr>
              <a:t>de</a:t>
            </a:r>
            <a:r>
              <a:rPr sz="1235" spc="4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46" dirty="0">
                <a:solidFill>
                  <a:prstClr val="black"/>
                </a:solidFill>
                <a:latin typeface="Times New Roman"/>
                <a:cs typeface="Times New Roman"/>
              </a:rPr>
              <a:t>masques.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318824" marR="2586456" lvl="1" indent="-72282" defTabSz="806867">
              <a:lnSpc>
                <a:spcPct val="166400"/>
              </a:lnSpc>
              <a:spcBef>
                <a:spcPts val="13"/>
              </a:spcBef>
              <a:buClr>
                <a:srgbClr val="008EC1"/>
              </a:buClr>
              <a:buFontTx/>
              <a:buChar char="•"/>
              <a:tabLst>
                <a:tab pos="485801" algn="l"/>
                <a:tab pos="486361" algn="l"/>
              </a:tabLst>
            </a:pPr>
            <a:r>
              <a:rPr sz="1235" u="heavy" spc="159" dirty="0">
                <a:solidFill>
                  <a:prstClr val="black"/>
                </a:solidFill>
                <a:uFill>
                  <a:solidFill>
                    <a:srgbClr val="000000"/>
                  </a:solidFill>
                </a:uFill>
                <a:latin typeface="Times New Roman"/>
                <a:cs typeface="Times New Roman"/>
              </a:rPr>
              <a:t>Grande</a:t>
            </a:r>
            <a:r>
              <a:rPr sz="1235" u="heavy" spc="35" dirty="0">
                <a:solidFill>
                  <a:prstClr val="black"/>
                </a:solidFill>
                <a:uFill>
                  <a:solidFill>
                    <a:srgbClr val="000000"/>
                  </a:solidFill>
                </a:uFill>
                <a:latin typeface="Times New Roman"/>
                <a:cs typeface="Times New Roman"/>
              </a:rPr>
              <a:t> </a:t>
            </a:r>
            <a:r>
              <a:rPr sz="1235" u="heavy" spc="128" dirty="0">
                <a:solidFill>
                  <a:prstClr val="black"/>
                </a:solidFill>
                <a:uFill>
                  <a:solidFill>
                    <a:srgbClr val="000000"/>
                  </a:solidFill>
                </a:uFill>
                <a:latin typeface="Times New Roman"/>
                <a:cs typeface="Times New Roman"/>
              </a:rPr>
              <a:t>propreté</a:t>
            </a:r>
            <a:r>
              <a:rPr sz="1235" spc="53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10" dirty="0">
                <a:solidFill>
                  <a:prstClr val="black"/>
                </a:solidFill>
                <a:latin typeface="Times New Roman"/>
                <a:cs typeface="Times New Roman"/>
              </a:rPr>
              <a:t>requise</a:t>
            </a:r>
            <a:r>
              <a:rPr sz="1235" spc="4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15" dirty="0">
                <a:solidFill>
                  <a:prstClr val="black"/>
                </a:solidFill>
                <a:latin typeface="Times New Roman"/>
                <a:cs typeface="Times New Roman"/>
              </a:rPr>
              <a:t>pour</a:t>
            </a:r>
            <a:r>
              <a:rPr sz="1235" spc="4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46" dirty="0">
                <a:solidFill>
                  <a:prstClr val="black"/>
                </a:solidFill>
                <a:latin typeface="Times New Roman"/>
                <a:cs typeface="Times New Roman"/>
              </a:rPr>
              <a:t>équipements</a:t>
            </a:r>
            <a:r>
              <a:rPr sz="1235" spc="26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32" dirty="0">
                <a:solidFill>
                  <a:prstClr val="black"/>
                </a:solidFill>
                <a:latin typeface="Times New Roman"/>
                <a:cs typeface="Times New Roman"/>
              </a:rPr>
              <a:t>et</a:t>
            </a:r>
            <a:r>
              <a:rPr sz="1235" spc="4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37" dirty="0">
                <a:solidFill>
                  <a:prstClr val="black"/>
                </a:solidFill>
                <a:latin typeface="Times New Roman"/>
                <a:cs typeface="Times New Roman"/>
              </a:rPr>
              <a:t>électrodes  </a:t>
            </a:r>
            <a:r>
              <a:rPr sz="1235" spc="176" dirty="0">
                <a:solidFill>
                  <a:prstClr val="black"/>
                </a:solidFill>
                <a:latin typeface="Times New Roman"/>
                <a:cs typeface="Times New Roman"/>
              </a:rPr>
              <a:t>(absence</a:t>
            </a:r>
            <a:r>
              <a:rPr sz="1235" spc="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10" dirty="0">
                <a:solidFill>
                  <a:prstClr val="black"/>
                </a:solidFill>
                <a:latin typeface="Times New Roman"/>
                <a:cs typeface="Times New Roman"/>
              </a:rPr>
              <a:t>requise</a:t>
            </a:r>
            <a:r>
              <a:rPr sz="1235" spc="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221" dirty="0">
                <a:solidFill>
                  <a:prstClr val="black"/>
                </a:solidFill>
                <a:latin typeface="Times New Roman"/>
                <a:cs typeface="Times New Roman"/>
              </a:rPr>
              <a:t>de</a:t>
            </a:r>
            <a:r>
              <a:rPr sz="1235" spc="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01" dirty="0">
                <a:solidFill>
                  <a:prstClr val="black"/>
                </a:solidFill>
                <a:latin typeface="Times New Roman"/>
                <a:cs typeface="Times New Roman"/>
              </a:rPr>
              <a:t>particules</a:t>
            </a:r>
            <a:r>
              <a:rPr sz="1235" spc="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06" dirty="0">
                <a:solidFill>
                  <a:prstClr val="black"/>
                </a:solidFill>
                <a:latin typeface="Times New Roman"/>
                <a:cs typeface="Times New Roman"/>
              </a:rPr>
              <a:t>métalliques)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03433" lvl="1" defTabSz="806867">
              <a:buClr>
                <a:srgbClr val="008EC1"/>
              </a:buClr>
              <a:buFont typeface="Times New Roman"/>
              <a:buChar char="•"/>
            </a:pPr>
            <a:endParaRPr sz="1324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03433" lvl="1" defTabSz="806867">
              <a:spcBef>
                <a:spcPts val="44"/>
              </a:spcBef>
              <a:buClr>
                <a:srgbClr val="008EC1"/>
              </a:buClr>
              <a:buFont typeface="Times New Roman"/>
              <a:buChar char="•"/>
            </a:pPr>
            <a:endParaRPr sz="1324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316023" indent="-304816" defTabSz="806867">
              <a:spcBef>
                <a:spcPts val="4"/>
              </a:spcBef>
              <a:buClr>
                <a:srgbClr val="112F52"/>
              </a:buClr>
              <a:buSzPct val="108333"/>
              <a:buFontTx/>
              <a:buChar char="–"/>
              <a:tabLst>
                <a:tab pos="316023" algn="l"/>
                <a:tab pos="316583" algn="l"/>
              </a:tabLst>
            </a:pPr>
            <a:r>
              <a:rPr sz="1588" spc="154" dirty="0">
                <a:solidFill>
                  <a:prstClr val="black"/>
                </a:solidFill>
                <a:latin typeface="Times New Roman"/>
                <a:cs typeface="Times New Roman"/>
              </a:rPr>
              <a:t>Nécessité</a:t>
            </a:r>
            <a:r>
              <a:rPr sz="1588" spc="26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59" dirty="0">
                <a:solidFill>
                  <a:prstClr val="black"/>
                </a:solidFill>
                <a:latin typeface="Times New Roman"/>
                <a:cs typeface="Times New Roman"/>
              </a:rPr>
              <a:t>d’une</a:t>
            </a:r>
            <a:r>
              <a:rPr sz="1588" spc="31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41" dirty="0">
                <a:solidFill>
                  <a:prstClr val="black"/>
                </a:solidFill>
                <a:latin typeface="Times New Roman"/>
                <a:cs typeface="Times New Roman"/>
              </a:rPr>
              <a:t>gestion</a:t>
            </a:r>
            <a:r>
              <a:rPr sz="1588" spc="31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59" dirty="0">
                <a:solidFill>
                  <a:prstClr val="black"/>
                </a:solidFill>
                <a:latin typeface="Times New Roman"/>
                <a:cs typeface="Times New Roman"/>
              </a:rPr>
              <a:t>électronique</a:t>
            </a:r>
            <a:r>
              <a:rPr sz="1588" spc="44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01" dirty="0">
                <a:solidFill>
                  <a:prstClr val="black"/>
                </a:solidFill>
                <a:latin typeface="Times New Roman"/>
                <a:cs typeface="Times New Roman"/>
              </a:rPr>
              <a:t>individuelle</a:t>
            </a:r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85801" marR="10646" lvl="1" indent="-239258" defTabSz="806867">
              <a:lnSpc>
                <a:spcPct val="125000"/>
              </a:lnSpc>
              <a:spcBef>
                <a:spcPts val="401"/>
              </a:spcBef>
              <a:buClr>
                <a:srgbClr val="008EC1"/>
              </a:buClr>
              <a:buFontTx/>
              <a:buChar char="•"/>
              <a:tabLst>
                <a:tab pos="485801" algn="l"/>
                <a:tab pos="486361" algn="l"/>
              </a:tabLst>
            </a:pPr>
            <a:r>
              <a:rPr sz="1235" spc="13" dirty="0">
                <a:solidFill>
                  <a:prstClr val="black"/>
                </a:solidFill>
                <a:latin typeface="Times New Roman"/>
                <a:cs typeface="Times New Roman"/>
              </a:rPr>
              <a:t>Le</a:t>
            </a:r>
            <a:r>
              <a:rPr sz="1235" spc="26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50" dirty="0">
                <a:solidFill>
                  <a:prstClr val="black"/>
                </a:solidFill>
                <a:latin typeface="Times New Roman"/>
                <a:cs typeface="Times New Roman"/>
              </a:rPr>
              <a:t>rendement</a:t>
            </a:r>
            <a:r>
              <a:rPr sz="1235" spc="53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28" dirty="0">
                <a:solidFill>
                  <a:prstClr val="black"/>
                </a:solidFill>
                <a:latin typeface="Times New Roman"/>
                <a:cs typeface="Times New Roman"/>
              </a:rPr>
              <a:t>faradique</a:t>
            </a:r>
            <a:r>
              <a:rPr sz="1235" spc="4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221" dirty="0">
                <a:solidFill>
                  <a:prstClr val="black"/>
                </a:solidFill>
                <a:latin typeface="Times New Roman"/>
                <a:cs typeface="Times New Roman"/>
              </a:rPr>
              <a:t>de</a:t>
            </a:r>
            <a:r>
              <a:rPr sz="1235" spc="26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66" dirty="0">
                <a:solidFill>
                  <a:prstClr val="black"/>
                </a:solidFill>
                <a:latin typeface="Times New Roman"/>
                <a:cs typeface="Times New Roman"/>
              </a:rPr>
              <a:t>100%</a:t>
            </a:r>
            <a:r>
              <a:rPr sz="1235" spc="18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10" dirty="0">
                <a:solidFill>
                  <a:prstClr val="black"/>
                </a:solidFill>
                <a:latin typeface="Times New Roman"/>
                <a:cs typeface="Times New Roman"/>
              </a:rPr>
              <a:t>exclut</a:t>
            </a:r>
            <a:r>
              <a:rPr sz="1235" spc="4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19" dirty="0">
                <a:solidFill>
                  <a:prstClr val="black"/>
                </a:solidFill>
                <a:latin typeface="Times New Roman"/>
                <a:cs typeface="Times New Roman"/>
              </a:rPr>
              <a:t>toute</a:t>
            </a:r>
            <a:r>
              <a:rPr sz="1235" spc="4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66" dirty="0">
                <a:solidFill>
                  <a:prstClr val="black"/>
                </a:solidFill>
                <a:latin typeface="Times New Roman"/>
                <a:cs typeface="Times New Roman"/>
              </a:rPr>
              <a:t>possibilité</a:t>
            </a:r>
            <a:r>
              <a:rPr sz="1235" spc="57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10" dirty="0">
                <a:solidFill>
                  <a:prstClr val="black"/>
                </a:solidFill>
                <a:latin typeface="Times New Roman"/>
                <a:cs typeface="Times New Roman"/>
              </a:rPr>
              <a:t>d’équilibrage</a:t>
            </a:r>
            <a:r>
              <a:rPr sz="1235" spc="53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93" dirty="0">
                <a:solidFill>
                  <a:prstClr val="black"/>
                </a:solidFill>
                <a:latin typeface="Times New Roman"/>
                <a:cs typeface="Times New Roman"/>
              </a:rPr>
              <a:t>naturel,</a:t>
            </a:r>
            <a:r>
              <a:rPr sz="1235" spc="31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32" dirty="0">
                <a:solidFill>
                  <a:prstClr val="black"/>
                </a:solidFill>
                <a:latin typeface="Times New Roman"/>
                <a:cs typeface="Times New Roman"/>
              </a:rPr>
              <a:t>surcharge</a:t>
            </a:r>
            <a:r>
              <a:rPr sz="1235" spc="53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32" dirty="0">
                <a:solidFill>
                  <a:prstClr val="black"/>
                </a:solidFill>
                <a:latin typeface="Times New Roman"/>
                <a:cs typeface="Times New Roman"/>
              </a:rPr>
              <a:t>et  </a:t>
            </a:r>
            <a:r>
              <a:rPr sz="1235" spc="150" dirty="0">
                <a:solidFill>
                  <a:prstClr val="black"/>
                </a:solidFill>
                <a:latin typeface="Times New Roman"/>
                <a:cs typeface="Times New Roman"/>
              </a:rPr>
              <a:t>surdécharge </a:t>
            </a:r>
            <a:r>
              <a:rPr sz="1235" spc="97" dirty="0">
                <a:solidFill>
                  <a:prstClr val="black"/>
                </a:solidFill>
                <a:latin typeface="Times New Roman"/>
                <a:cs typeface="Times New Roman"/>
              </a:rPr>
              <a:t>sont</a:t>
            </a:r>
            <a:r>
              <a:rPr sz="1235" spc="-84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71" dirty="0">
                <a:solidFill>
                  <a:prstClr val="black"/>
                </a:solidFill>
                <a:latin typeface="Times New Roman"/>
                <a:cs typeface="Times New Roman"/>
              </a:rPr>
              <a:t>interdites).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03433" lvl="1" defTabSz="806867">
              <a:buClr>
                <a:srgbClr val="008EC1"/>
              </a:buClr>
              <a:buFont typeface="Times New Roman"/>
              <a:buChar char="•"/>
            </a:pPr>
            <a:endParaRPr sz="1324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03433" lvl="1" defTabSz="806867">
              <a:spcBef>
                <a:spcPts val="31"/>
              </a:spcBef>
              <a:buClr>
                <a:srgbClr val="008EC1"/>
              </a:buClr>
              <a:buFont typeface="Times New Roman"/>
              <a:buChar char="•"/>
            </a:pPr>
            <a:endParaRPr sz="1544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316023" marR="254947" indent="-304816" defTabSz="806867">
              <a:lnSpc>
                <a:spcPts val="1853"/>
              </a:lnSpc>
              <a:buClr>
                <a:srgbClr val="112F52"/>
              </a:buClr>
              <a:buSzPct val="108333"/>
              <a:buFontTx/>
              <a:buChar char="–"/>
              <a:tabLst>
                <a:tab pos="316023" algn="l"/>
                <a:tab pos="316583" algn="l"/>
              </a:tabLst>
            </a:pPr>
            <a:r>
              <a:rPr sz="1588" spc="84" dirty="0">
                <a:solidFill>
                  <a:prstClr val="black"/>
                </a:solidFill>
                <a:latin typeface="Times New Roman"/>
                <a:cs typeface="Times New Roman"/>
              </a:rPr>
              <a:t>Instabilité</a:t>
            </a:r>
            <a:r>
              <a:rPr sz="1588" spc="4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72" dirty="0">
                <a:solidFill>
                  <a:prstClr val="black"/>
                </a:solidFill>
                <a:latin typeface="Times New Roman"/>
                <a:cs typeface="Times New Roman"/>
              </a:rPr>
              <a:t>et</a:t>
            </a:r>
            <a:r>
              <a:rPr sz="1588" spc="62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10" dirty="0">
                <a:solidFill>
                  <a:prstClr val="black"/>
                </a:solidFill>
                <a:latin typeface="Times New Roman"/>
                <a:cs typeface="Times New Roman"/>
              </a:rPr>
              <a:t>inflammabilité</a:t>
            </a:r>
            <a:r>
              <a:rPr sz="1588" spc="62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28" dirty="0">
                <a:solidFill>
                  <a:prstClr val="black"/>
                </a:solidFill>
                <a:latin typeface="Times New Roman"/>
                <a:cs typeface="Times New Roman"/>
              </a:rPr>
              <a:t>potentielle</a:t>
            </a:r>
            <a:r>
              <a:rPr sz="1588" spc="57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207" dirty="0">
                <a:solidFill>
                  <a:prstClr val="black"/>
                </a:solidFill>
                <a:latin typeface="Times New Roman"/>
                <a:cs typeface="Times New Roman"/>
              </a:rPr>
              <a:t>dans</a:t>
            </a:r>
            <a:r>
              <a:rPr sz="1588" spc="4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06" dirty="0">
                <a:solidFill>
                  <a:prstClr val="black"/>
                </a:solidFill>
                <a:latin typeface="Times New Roman"/>
                <a:cs typeface="Times New Roman"/>
              </a:rPr>
              <a:t>les</a:t>
            </a:r>
            <a:r>
              <a:rPr sz="1588" spc="44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28" dirty="0">
                <a:solidFill>
                  <a:prstClr val="black"/>
                </a:solidFill>
                <a:latin typeface="Times New Roman"/>
                <a:cs typeface="Times New Roman"/>
              </a:rPr>
              <a:t>conditions</a:t>
            </a:r>
            <a:r>
              <a:rPr sz="1588" spc="62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71" dirty="0">
                <a:solidFill>
                  <a:prstClr val="black"/>
                </a:solidFill>
                <a:latin typeface="Times New Roman"/>
                <a:cs typeface="Times New Roman"/>
              </a:rPr>
              <a:t>d’utilisations  </a:t>
            </a:r>
            <a:r>
              <a:rPr sz="1588" spc="154" dirty="0">
                <a:solidFill>
                  <a:prstClr val="black"/>
                </a:solidFill>
                <a:latin typeface="Times New Roman"/>
                <a:cs typeface="Times New Roman"/>
              </a:rPr>
              <a:t>abusives</a:t>
            </a:r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85801" marR="4483" lvl="1" indent="-239258" defTabSz="806867">
              <a:lnSpc>
                <a:spcPct val="125000"/>
              </a:lnSpc>
              <a:spcBef>
                <a:spcPts val="375"/>
              </a:spcBef>
              <a:buClr>
                <a:srgbClr val="008EC1"/>
              </a:buClr>
              <a:buFontTx/>
              <a:buChar char="•"/>
              <a:tabLst>
                <a:tab pos="485801" algn="l"/>
                <a:tab pos="486361" algn="l"/>
              </a:tabLst>
            </a:pPr>
            <a:r>
              <a:rPr sz="1235" spc="115" dirty="0">
                <a:solidFill>
                  <a:prstClr val="black"/>
                </a:solidFill>
                <a:latin typeface="Times New Roman"/>
                <a:cs typeface="Times New Roman"/>
              </a:rPr>
              <a:t>(surcharge,</a:t>
            </a:r>
            <a:r>
              <a:rPr sz="1235" spc="49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84" dirty="0">
                <a:solidFill>
                  <a:prstClr val="black"/>
                </a:solidFill>
                <a:latin typeface="Times New Roman"/>
                <a:cs typeface="Times New Roman"/>
              </a:rPr>
              <a:t>court-circuit,</a:t>
            </a:r>
            <a:r>
              <a:rPr sz="1235" spc="62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97" dirty="0">
                <a:solidFill>
                  <a:prstClr val="black"/>
                </a:solidFill>
                <a:latin typeface="Times New Roman"/>
                <a:cs typeface="Times New Roman"/>
              </a:rPr>
              <a:t>surchauffe,</a:t>
            </a:r>
            <a:r>
              <a:rPr sz="1235" spc="31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88" dirty="0">
                <a:solidFill>
                  <a:prstClr val="black"/>
                </a:solidFill>
                <a:latin typeface="Times New Roman"/>
                <a:cs typeface="Times New Roman"/>
              </a:rPr>
              <a:t>perforation,</a:t>
            </a:r>
            <a:r>
              <a:rPr sz="1235" spc="4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31" dirty="0">
                <a:solidFill>
                  <a:prstClr val="black"/>
                </a:solidFill>
                <a:latin typeface="Times New Roman"/>
                <a:cs typeface="Times New Roman"/>
              </a:rPr>
              <a:t>…)</a:t>
            </a:r>
            <a:r>
              <a:rPr sz="1235" spc="49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50" dirty="0">
                <a:solidFill>
                  <a:prstClr val="black"/>
                </a:solidFill>
                <a:latin typeface="Times New Roman"/>
                <a:cs typeface="Times New Roman"/>
              </a:rPr>
              <a:t>notamment</a:t>
            </a:r>
            <a:r>
              <a:rPr sz="1235" spc="44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19" dirty="0">
                <a:solidFill>
                  <a:prstClr val="black"/>
                </a:solidFill>
                <a:latin typeface="Times New Roman"/>
                <a:cs typeface="Times New Roman"/>
              </a:rPr>
              <a:t>pour</a:t>
            </a:r>
            <a:r>
              <a:rPr sz="1235" spc="4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88" dirty="0">
                <a:solidFill>
                  <a:prstClr val="black"/>
                </a:solidFill>
                <a:latin typeface="Times New Roman"/>
                <a:cs typeface="Times New Roman"/>
              </a:rPr>
              <a:t>les</a:t>
            </a:r>
            <a:r>
              <a:rPr sz="1235" spc="26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41" dirty="0">
                <a:solidFill>
                  <a:prstClr val="black"/>
                </a:solidFill>
                <a:latin typeface="Times New Roman"/>
                <a:cs typeface="Times New Roman"/>
              </a:rPr>
              <a:t>accumulateurs</a:t>
            </a:r>
            <a:r>
              <a:rPr sz="1235" spc="49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221" dirty="0">
                <a:solidFill>
                  <a:prstClr val="black"/>
                </a:solidFill>
                <a:latin typeface="Times New Roman"/>
                <a:cs typeface="Times New Roman"/>
              </a:rPr>
              <a:t>de  </a:t>
            </a:r>
            <a:r>
              <a:rPr sz="1235" spc="71" dirty="0">
                <a:solidFill>
                  <a:prstClr val="black"/>
                </a:solidFill>
                <a:latin typeface="Times New Roman"/>
                <a:cs typeface="Times New Roman"/>
              </a:rPr>
              <a:t>fortes</a:t>
            </a:r>
            <a:r>
              <a:rPr sz="1235" spc="31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50" dirty="0">
                <a:solidFill>
                  <a:prstClr val="black"/>
                </a:solidFill>
                <a:latin typeface="Times New Roman"/>
                <a:cs typeface="Times New Roman"/>
              </a:rPr>
              <a:t>capacités.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733837" y="698796"/>
            <a:ext cx="5741334" cy="309421"/>
          </a:xfrm>
          <a:prstGeom prst="rect">
            <a:avLst/>
          </a:prstGeom>
        </p:spPr>
        <p:txBody>
          <a:bodyPr vert="horz" wrap="square" lIns="0" tIns="10646" rIns="0" bIns="0" rtlCol="0">
            <a:spAutoFit/>
          </a:bodyPr>
          <a:lstStyle/>
          <a:p>
            <a:pPr marL="11206">
              <a:spcBef>
                <a:spcPts val="84"/>
              </a:spcBef>
            </a:pPr>
            <a:r>
              <a:rPr sz="1941" spc="-31" dirty="0">
                <a:solidFill>
                  <a:srgbClr val="004660"/>
                </a:solidFill>
              </a:rPr>
              <a:t>NERSAC </a:t>
            </a:r>
            <a:r>
              <a:rPr sz="1941" dirty="0">
                <a:solidFill>
                  <a:srgbClr val="004660"/>
                </a:solidFill>
              </a:rPr>
              <a:t>: </a:t>
            </a:r>
            <a:r>
              <a:rPr sz="1941" spc="150" dirty="0">
                <a:solidFill>
                  <a:srgbClr val="004660"/>
                </a:solidFill>
              </a:rPr>
              <a:t>cell </a:t>
            </a:r>
            <a:r>
              <a:rPr sz="1941" spc="185" dirty="0">
                <a:solidFill>
                  <a:srgbClr val="004660"/>
                </a:solidFill>
              </a:rPr>
              <a:t>manufacturing </a:t>
            </a:r>
            <a:r>
              <a:rPr sz="1941" spc="168" dirty="0">
                <a:solidFill>
                  <a:srgbClr val="004660"/>
                </a:solidFill>
              </a:rPr>
              <a:t>Process </a:t>
            </a:r>
            <a:r>
              <a:rPr sz="1941" spc="44" dirty="0">
                <a:solidFill>
                  <a:srgbClr val="004660"/>
                </a:solidFill>
              </a:rPr>
              <a:t>Flow</a:t>
            </a:r>
            <a:r>
              <a:rPr sz="1941" spc="-57" dirty="0">
                <a:solidFill>
                  <a:srgbClr val="004660"/>
                </a:solidFill>
              </a:rPr>
              <a:t> </a:t>
            </a:r>
            <a:r>
              <a:rPr sz="1941" spc="168" dirty="0">
                <a:solidFill>
                  <a:srgbClr val="004660"/>
                </a:solidFill>
              </a:rPr>
              <a:t>Chart</a:t>
            </a:r>
            <a:endParaRPr sz="1941"/>
          </a:p>
        </p:txBody>
      </p:sp>
      <p:sp>
        <p:nvSpPr>
          <p:cNvPr id="3" name="object 3"/>
          <p:cNvSpPr/>
          <p:nvPr/>
        </p:nvSpPr>
        <p:spPr>
          <a:xfrm>
            <a:off x="3003177" y="1114761"/>
            <a:ext cx="6240779" cy="490414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1681" rIns="0" bIns="0" rtlCol="0">
            <a:spAutoFit/>
          </a:bodyPr>
          <a:lstStyle/>
          <a:p>
            <a:pPr marL="11206" marR="4483" defTabSz="806867">
              <a:spcBef>
                <a:spcPts val="13"/>
              </a:spcBef>
            </a:pPr>
            <a:r>
              <a:rPr spc="-26" dirty="0">
                <a:solidFill>
                  <a:prstClr val="black"/>
                </a:solidFill>
              </a:rPr>
              <a:t>EVOLIS- </a:t>
            </a:r>
            <a:r>
              <a:rPr spc="35" dirty="0">
                <a:solidFill>
                  <a:prstClr val="black"/>
                </a:solidFill>
              </a:rPr>
              <a:t>Saft  </a:t>
            </a:r>
            <a:r>
              <a:rPr spc="22" dirty="0">
                <a:solidFill>
                  <a:prstClr val="black"/>
                </a:solidFill>
              </a:rPr>
              <a:t>6-7 </a:t>
            </a:r>
            <a:r>
              <a:rPr spc="31" dirty="0">
                <a:solidFill>
                  <a:prstClr val="black"/>
                </a:solidFill>
              </a:rPr>
              <a:t>NOV</a:t>
            </a:r>
            <a:r>
              <a:rPr spc="-62" dirty="0">
                <a:solidFill>
                  <a:prstClr val="black"/>
                </a:solidFill>
              </a:rPr>
              <a:t> </a:t>
            </a:r>
            <a:r>
              <a:rPr spc="31" dirty="0">
                <a:solidFill>
                  <a:prstClr val="black"/>
                </a:solidFill>
              </a:rPr>
              <a:t>2019</a:t>
            </a:r>
          </a:p>
        </p:txBody>
      </p:sp>
      <p:sp>
        <p:nvSpPr>
          <p:cNvPr id="5" name="object 5"/>
          <p:cNvSpPr txBox="1"/>
          <p:nvPr/>
        </p:nvSpPr>
        <p:spPr>
          <a:xfrm>
            <a:off x="2294075" y="6178291"/>
            <a:ext cx="17089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206" defTabSz="806867">
              <a:lnSpc>
                <a:spcPts val="1244"/>
              </a:lnSpc>
            </a:pPr>
            <a:r>
              <a:rPr sz="1059" spc="49" dirty="0">
                <a:solidFill>
                  <a:prstClr val="black"/>
                </a:solidFill>
                <a:latin typeface="Times New Roman"/>
                <a:cs typeface="Times New Roman"/>
              </a:rPr>
              <a:t>1</a:t>
            </a:r>
            <a:r>
              <a:rPr sz="1059" spc="53" dirty="0">
                <a:solidFill>
                  <a:prstClr val="black"/>
                </a:solidFill>
                <a:latin typeface="Times New Roman"/>
                <a:cs typeface="Times New Roman"/>
              </a:rPr>
              <a:t>4</a:t>
            </a:r>
            <a:endParaRPr sz="1059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018449" y="6185411"/>
            <a:ext cx="2066925" cy="1222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206" defTabSz="806867"/>
            <a:r>
              <a:rPr sz="794" spc="40" dirty="0">
                <a:solidFill>
                  <a:prstClr val="black"/>
                </a:solidFill>
                <a:latin typeface="Times New Roman"/>
                <a:cs typeface="Times New Roman"/>
              </a:rPr>
              <a:t>Saft </a:t>
            </a:r>
            <a:r>
              <a:rPr sz="794" spc="62" dirty="0">
                <a:solidFill>
                  <a:prstClr val="black"/>
                </a:solidFill>
                <a:latin typeface="Times New Roman"/>
                <a:cs typeface="Times New Roman"/>
              </a:rPr>
              <a:t>proprietary </a:t>
            </a:r>
            <a:r>
              <a:rPr sz="794" spc="53" dirty="0">
                <a:solidFill>
                  <a:prstClr val="black"/>
                </a:solidFill>
                <a:latin typeface="Times New Roman"/>
                <a:cs typeface="Times New Roman"/>
              </a:rPr>
              <a:t>information </a:t>
            </a:r>
            <a:r>
              <a:rPr sz="794" dirty="0">
                <a:solidFill>
                  <a:prstClr val="black"/>
                </a:solidFill>
                <a:latin typeface="Times New Roman"/>
                <a:cs typeface="Times New Roman"/>
              </a:rPr>
              <a:t>–</a:t>
            </a:r>
            <a:r>
              <a:rPr sz="794" spc="-101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794" spc="62" dirty="0">
                <a:solidFill>
                  <a:prstClr val="black"/>
                </a:solidFill>
                <a:latin typeface="Times New Roman"/>
                <a:cs typeface="Times New Roman"/>
              </a:rPr>
              <a:t>Confidential</a:t>
            </a:r>
            <a:endParaRPr sz="794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061883" y="1011218"/>
            <a:ext cx="8068235" cy="10085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9570720" y="6154718"/>
            <a:ext cx="145228" cy="9412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9793941" y="6173545"/>
            <a:ext cx="48745" cy="75640"/>
          </a:xfrm>
          <a:custGeom>
            <a:avLst/>
            <a:gdLst/>
            <a:ahLst/>
            <a:cxnLst/>
            <a:rect l="l" t="t" r="r" b="b"/>
            <a:pathLst>
              <a:path w="55245" h="85725">
                <a:moveTo>
                  <a:pt x="0" y="0"/>
                </a:moveTo>
                <a:lnTo>
                  <a:pt x="54864" y="0"/>
                </a:lnTo>
                <a:lnTo>
                  <a:pt x="54864" y="85344"/>
                </a:lnTo>
                <a:lnTo>
                  <a:pt x="0" y="85344"/>
                </a:lnTo>
                <a:lnTo>
                  <a:pt x="0" y="0"/>
                </a:lnTo>
                <a:close/>
              </a:path>
            </a:pathLst>
          </a:custGeom>
          <a:solidFill>
            <a:srgbClr val="C11F2D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9740153" y="6164804"/>
            <a:ext cx="156322" cy="0"/>
          </a:xfrm>
          <a:custGeom>
            <a:avLst/>
            <a:gdLst/>
            <a:ahLst/>
            <a:cxnLst/>
            <a:rect l="l" t="t" r="r" b="b"/>
            <a:pathLst>
              <a:path w="177165">
                <a:moveTo>
                  <a:pt x="0" y="0"/>
                </a:moveTo>
                <a:lnTo>
                  <a:pt x="176784" y="0"/>
                </a:lnTo>
              </a:path>
            </a:pathLst>
          </a:custGeom>
          <a:ln w="22860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9194201" y="6154718"/>
            <a:ext cx="151952" cy="9412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9373048" y="6154718"/>
            <a:ext cx="160020" cy="9412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9194202" y="6312722"/>
            <a:ext cx="705971" cy="0"/>
          </a:xfrm>
          <a:custGeom>
            <a:avLst/>
            <a:gdLst/>
            <a:ahLst/>
            <a:cxnLst/>
            <a:rect l="l" t="t" r="r" b="b"/>
            <a:pathLst>
              <a:path w="800100">
                <a:moveTo>
                  <a:pt x="0" y="0"/>
                </a:moveTo>
                <a:lnTo>
                  <a:pt x="800100" y="0"/>
                </a:lnTo>
              </a:path>
            </a:pathLst>
          </a:custGeom>
          <a:ln w="53340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2538581" y="6196405"/>
            <a:ext cx="0" cy="118782"/>
          </a:xfrm>
          <a:custGeom>
            <a:avLst/>
            <a:gdLst/>
            <a:ahLst/>
            <a:cxnLst/>
            <a:rect l="l" t="t" r="r" b="b"/>
            <a:pathLst>
              <a:path h="134620">
                <a:moveTo>
                  <a:pt x="0" y="0"/>
                </a:moveTo>
                <a:lnTo>
                  <a:pt x="0" y="134112"/>
                </a:lnTo>
              </a:path>
            </a:pathLst>
          </a:custGeom>
          <a:ln w="10668">
            <a:solidFill>
              <a:srgbClr val="595959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018449" y="6174429"/>
            <a:ext cx="2066925" cy="133528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794" spc="40" dirty="0">
                <a:solidFill>
                  <a:prstClr val="black"/>
                </a:solidFill>
                <a:latin typeface="Times New Roman"/>
                <a:cs typeface="Times New Roman"/>
              </a:rPr>
              <a:t>Saft </a:t>
            </a:r>
            <a:r>
              <a:rPr sz="794" spc="62" dirty="0">
                <a:solidFill>
                  <a:prstClr val="black"/>
                </a:solidFill>
                <a:latin typeface="Times New Roman"/>
                <a:cs typeface="Times New Roman"/>
              </a:rPr>
              <a:t>proprietary </a:t>
            </a:r>
            <a:r>
              <a:rPr sz="794" spc="53" dirty="0">
                <a:solidFill>
                  <a:prstClr val="black"/>
                </a:solidFill>
                <a:latin typeface="Times New Roman"/>
                <a:cs typeface="Times New Roman"/>
              </a:rPr>
              <a:t>information </a:t>
            </a:r>
            <a:r>
              <a:rPr sz="794" dirty="0">
                <a:solidFill>
                  <a:prstClr val="black"/>
                </a:solidFill>
                <a:latin typeface="Times New Roman"/>
                <a:cs typeface="Times New Roman"/>
              </a:rPr>
              <a:t>–</a:t>
            </a:r>
            <a:r>
              <a:rPr sz="794" spc="-101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794" spc="62" dirty="0">
                <a:solidFill>
                  <a:prstClr val="black"/>
                </a:solidFill>
                <a:latin typeface="Times New Roman"/>
                <a:cs typeface="Times New Roman"/>
              </a:rPr>
              <a:t>Confidential</a:t>
            </a:r>
            <a:endParaRPr sz="794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2061883" y="1210236"/>
            <a:ext cx="8068235" cy="44778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" name="object 12"/>
          <p:cNvSpPr txBox="1">
            <a:spLocks noGrp="1"/>
          </p:cNvSpPr>
          <p:nvPr>
            <p:ph type="title"/>
          </p:nvPr>
        </p:nvSpPr>
        <p:spPr>
          <a:xfrm>
            <a:off x="2401605" y="587171"/>
            <a:ext cx="6073588" cy="309421"/>
          </a:xfrm>
          <a:prstGeom prst="rect">
            <a:avLst/>
          </a:prstGeom>
        </p:spPr>
        <p:txBody>
          <a:bodyPr vert="horz" wrap="square" lIns="0" tIns="10646" rIns="0" bIns="0" rtlCol="0">
            <a:spAutoFit/>
          </a:bodyPr>
          <a:lstStyle/>
          <a:p>
            <a:pPr marL="11206">
              <a:spcBef>
                <a:spcPts val="84"/>
              </a:spcBef>
              <a:tabLst>
                <a:tab pos="2068156" algn="l"/>
              </a:tabLst>
            </a:pPr>
            <a:r>
              <a:rPr sz="1941" spc="199" dirty="0">
                <a:solidFill>
                  <a:srgbClr val="004660"/>
                </a:solidFill>
              </a:rPr>
              <a:t>Mandatory</a:t>
            </a:r>
            <a:r>
              <a:rPr sz="1941" spc="57" dirty="0">
                <a:solidFill>
                  <a:srgbClr val="004660"/>
                </a:solidFill>
              </a:rPr>
              <a:t> </a:t>
            </a:r>
            <a:r>
              <a:rPr sz="1941" spc="35" dirty="0">
                <a:solidFill>
                  <a:srgbClr val="004660"/>
                </a:solidFill>
              </a:rPr>
              <a:t>for</a:t>
            </a:r>
            <a:r>
              <a:rPr sz="1941" spc="84" dirty="0">
                <a:solidFill>
                  <a:srgbClr val="004660"/>
                </a:solidFill>
              </a:rPr>
              <a:t> </a:t>
            </a:r>
            <a:r>
              <a:rPr sz="1941" spc="-207" dirty="0">
                <a:solidFill>
                  <a:srgbClr val="004660"/>
                </a:solidFill>
              </a:rPr>
              <a:t>Li	</a:t>
            </a:r>
            <a:r>
              <a:rPr sz="1941" spc="128" dirty="0">
                <a:solidFill>
                  <a:srgbClr val="004660"/>
                </a:solidFill>
              </a:rPr>
              <a:t>ion </a:t>
            </a:r>
            <a:r>
              <a:rPr sz="1941" dirty="0">
                <a:solidFill>
                  <a:srgbClr val="004660"/>
                </a:solidFill>
              </a:rPr>
              <a:t>: </a:t>
            </a:r>
            <a:r>
              <a:rPr sz="1941" spc="185" dirty="0">
                <a:solidFill>
                  <a:srgbClr val="004660"/>
                </a:solidFill>
              </a:rPr>
              <a:t>Contamination </a:t>
            </a:r>
            <a:r>
              <a:rPr sz="1941" spc="146" dirty="0">
                <a:solidFill>
                  <a:srgbClr val="004660"/>
                </a:solidFill>
              </a:rPr>
              <a:t>control</a:t>
            </a:r>
            <a:r>
              <a:rPr sz="1941" spc="-97" dirty="0">
                <a:solidFill>
                  <a:srgbClr val="004660"/>
                </a:solidFill>
              </a:rPr>
              <a:t> </a:t>
            </a:r>
            <a:r>
              <a:rPr sz="1941" spc="221" dirty="0">
                <a:solidFill>
                  <a:srgbClr val="004660"/>
                </a:solidFill>
              </a:rPr>
              <a:t>chain</a:t>
            </a:r>
            <a:endParaRPr sz="1941"/>
          </a:p>
        </p:txBody>
      </p:sp>
      <p:sp>
        <p:nvSpPr>
          <p:cNvPr id="13" name="object 13"/>
          <p:cNvSpPr/>
          <p:nvPr/>
        </p:nvSpPr>
        <p:spPr>
          <a:xfrm>
            <a:off x="3351455" y="2351890"/>
            <a:ext cx="5451438" cy="60511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326818" y="3080759"/>
            <a:ext cx="981075" cy="878476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marR="4483" defTabSz="806867">
              <a:lnSpc>
                <a:spcPct val="110000"/>
              </a:lnSpc>
              <a:spcBef>
                <a:spcPts val="88"/>
              </a:spcBef>
            </a:pPr>
            <a:r>
              <a:rPr sz="1235" spc="88" dirty="0">
                <a:solidFill>
                  <a:prstClr val="black"/>
                </a:solidFill>
                <a:latin typeface="Times New Roman"/>
                <a:cs typeface="Times New Roman"/>
              </a:rPr>
              <a:t>Controlled  </a:t>
            </a:r>
            <a:r>
              <a:rPr sz="1235" spc="71" dirty="0">
                <a:solidFill>
                  <a:prstClr val="black"/>
                </a:solidFill>
                <a:latin typeface="Times New Roman"/>
                <a:cs typeface="Times New Roman"/>
              </a:rPr>
              <a:t>E</a:t>
            </a:r>
            <a:r>
              <a:rPr sz="1235" spc="124" dirty="0">
                <a:solidFill>
                  <a:prstClr val="black"/>
                </a:solidFill>
                <a:latin typeface="Times New Roman"/>
                <a:cs typeface="Times New Roman"/>
              </a:rPr>
              <a:t>n</a:t>
            </a:r>
            <a:r>
              <a:rPr sz="1235" spc="62" dirty="0">
                <a:solidFill>
                  <a:prstClr val="black"/>
                </a:solidFill>
                <a:latin typeface="Times New Roman"/>
                <a:cs typeface="Times New Roman"/>
              </a:rPr>
              <a:t>v</a:t>
            </a:r>
            <a:r>
              <a:rPr sz="1235" spc="-4" dirty="0">
                <a:solidFill>
                  <a:prstClr val="black"/>
                </a:solidFill>
                <a:latin typeface="Times New Roman"/>
                <a:cs typeface="Times New Roman"/>
              </a:rPr>
              <a:t>i</a:t>
            </a:r>
            <a:r>
              <a:rPr sz="1235" spc="79" dirty="0">
                <a:solidFill>
                  <a:prstClr val="black"/>
                </a:solidFill>
                <a:latin typeface="Times New Roman"/>
                <a:cs typeface="Times New Roman"/>
              </a:rPr>
              <a:t>r</a:t>
            </a:r>
            <a:r>
              <a:rPr sz="1235" spc="124" dirty="0">
                <a:solidFill>
                  <a:prstClr val="black"/>
                </a:solidFill>
                <a:latin typeface="Times New Roman"/>
                <a:cs typeface="Times New Roman"/>
              </a:rPr>
              <a:t>o</a:t>
            </a:r>
            <a:r>
              <a:rPr sz="1235" spc="137" dirty="0">
                <a:solidFill>
                  <a:prstClr val="black"/>
                </a:solidFill>
                <a:latin typeface="Times New Roman"/>
                <a:cs typeface="Times New Roman"/>
              </a:rPr>
              <a:t>nm</a:t>
            </a:r>
            <a:r>
              <a:rPr sz="1235" spc="128" dirty="0">
                <a:solidFill>
                  <a:prstClr val="black"/>
                </a:solidFill>
                <a:latin typeface="Times New Roman"/>
                <a:cs typeface="Times New Roman"/>
              </a:rPr>
              <a:t>e</a:t>
            </a:r>
            <a:r>
              <a:rPr sz="1235" spc="137" dirty="0">
                <a:solidFill>
                  <a:prstClr val="black"/>
                </a:solidFill>
                <a:latin typeface="Times New Roman"/>
                <a:cs typeface="Times New Roman"/>
              </a:rPr>
              <a:t>n</a:t>
            </a:r>
            <a:r>
              <a:rPr sz="1235" spc="66" dirty="0">
                <a:solidFill>
                  <a:prstClr val="black"/>
                </a:solidFill>
                <a:latin typeface="Times New Roman"/>
                <a:cs typeface="Times New Roman"/>
              </a:rPr>
              <a:t>t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170899" marR="198915" defTabSz="806867">
              <a:lnSpc>
                <a:spcPct val="120000"/>
              </a:lnSpc>
              <a:spcBef>
                <a:spcPts val="115"/>
              </a:spcBef>
            </a:pPr>
            <a:r>
              <a:rPr sz="1235" spc="141" dirty="0">
                <a:solidFill>
                  <a:prstClr val="black"/>
                </a:solidFill>
                <a:latin typeface="Times New Roman"/>
                <a:cs typeface="Times New Roman"/>
              </a:rPr>
              <a:t>P</a:t>
            </a:r>
            <a:r>
              <a:rPr sz="1235" spc="128" dirty="0">
                <a:solidFill>
                  <a:prstClr val="black"/>
                </a:solidFill>
                <a:latin typeface="Times New Roman"/>
                <a:cs typeface="Times New Roman"/>
              </a:rPr>
              <a:t>a</a:t>
            </a:r>
            <a:r>
              <a:rPr sz="1235" spc="4" dirty="0">
                <a:solidFill>
                  <a:prstClr val="black"/>
                </a:solidFill>
                <a:latin typeface="Times New Roman"/>
                <a:cs typeface="Times New Roman"/>
              </a:rPr>
              <a:t>r</a:t>
            </a:r>
            <a:r>
              <a:rPr sz="1235" spc="-4" dirty="0">
                <a:solidFill>
                  <a:prstClr val="black"/>
                </a:solidFill>
                <a:latin typeface="Times New Roman"/>
                <a:cs typeface="Times New Roman"/>
              </a:rPr>
              <a:t>t</a:t>
            </a:r>
            <a:r>
              <a:rPr sz="1235" spc="-75" dirty="0">
                <a:solidFill>
                  <a:prstClr val="black"/>
                </a:solidFill>
                <a:latin typeface="Times New Roman"/>
                <a:cs typeface="Times New Roman"/>
              </a:rPr>
              <a:t>i</a:t>
            </a:r>
            <a:r>
              <a:rPr sz="1235" spc="71" dirty="0">
                <a:solidFill>
                  <a:prstClr val="black"/>
                </a:solidFill>
                <a:latin typeface="Times New Roman"/>
                <a:cs typeface="Times New Roman"/>
              </a:rPr>
              <a:t>c</a:t>
            </a:r>
            <a:r>
              <a:rPr sz="1235" spc="-62" dirty="0">
                <a:solidFill>
                  <a:prstClr val="black"/>
                </a:solidFill>
                <a:latin typeface="Times New Roman"/>
                <a:cs typeface="Times New Roman"/>
              </a:rPr>
              <a:t>l</a:t>
            </a:r>
            <a:r>
              <a:rPr sz="1235" spc="128" dirty="0">
                <a:solidFill>
                  <a:prstClr val="black"/>
                </a:solidFill>
                <a:latin typeface="Times New Roman"/>
                <a:cs typeface="Times New Roman"/>
              </a:rPr>
              <a:t>e</a:t>
            </a:r>
            <a:r>
              <a:rPr sz="1235" spc="101" dirty="0">
                <a:solidFill>
                  <a:prstClr val="black"/>
                </a:solidFill>
                <a:latin typeface="Times New Roman"/>
                <a:cs typeface="Times New Roman"/>
              </a:rPr>
              <a:t>s  </a:t>
            </a:r>
            <a:r>
              <a:rPr sz="1235" spc="-75" dirty="0">
                <a:solidFill>
                  <a:prstClr val="black"/>
                </a:solidFill>
                <a:latin typeface="Times New Roman"/>
                <a:cs typeface="Times New Roman"/>
              </a:rPr>
              <a:t>M</a:t>
            </a:r>
            <a:r>
              <a:rPr sz="1235" spc="62" dirty="0">
                <a:solidFill>
                  <a:prstClr val="black"/>
                </a:solidFill>
                <a:latin typeface="Times New Roman"/>
                <a:cs typeface="Times New Roman"/>
              </a:rPr>
              <a:t>o</a:t>
            </a:r>
            <a:r>
              <a:rPr sz="1235" spc="-62" dirty="0">
                <a:solidFill>
                  <a:prstClr val="black"/>
                </a:solidFill>
                <a:latin typeface="Times New Roman"/>
                <a:cs typeface="Times New Roman"/>
              </a:rPr>
              <a:t>i</a:t>
            </a:r>
            <a:r>
              <a:rPr sz="1235" spc="137" dirty="0">
                <a:solidFill>
                  <a:prstClr val="black"/>
                </a:solidFill>
                <a:latin typeface="Times New Roman"/>
                <a:cs typeface="Times New Roman"/>
              </a:rPr>
              <a:t>s</a:t>
            </a:r>
            <a:r>
              <a:rPr sz="1235" spc="-4" dirty="0">
                <a:solidFill>
                  <a:prstClr val="black"/>
                </a:solidFill>
                <a:latin typeface="Times New Roman"/>
                <a:cs typeface="Times New Roman"/>
              </a:rPr>
              <a:t>t</a:t>
            </a:r>
            <a:r>
              <a:rPr sz="1235" spc="75" dirty="0">
                <a:solidFill>
                  <a:prstClr val="black"/>
                </a:solidFill>
                <a:latin typeface="Times New Roman"/>
                <a:cs typeface="Times New Roman"/>
              </a:rPr>
              <a:t>u</a:t>
            </a:r>
            <a:r>
              <a:rPr sz="1235" spc="-4" dirty="0">
                <a:solidFill>
                  <a:prstClr val="black"/>
                </a:solidFill>
                <a:latin typeface="Times New Roman"/>
                <a:cs typeface="Times New Roman"/>
              </a:rPr>
              <a:t>r</a:t>
            </a:r>
            <a:r>
              <a:rPr sz="1235" spc="137" dirty="0">
                <a:solidFill>
                  <a:prstClr val="black"/>
                </a:solidFill>
                <a:latin typeface="Times New Roman"/>
                <a:cs typeface="Times New Roman"/>
              </a:rPr>
              <a:t>e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438481" y="3099074"/>
            <a:ext cx="846604" cy="201933"/>
          </a:xfrm>
          <a:prstGeom prst="rect">
            <a:avLst/>
          </a:prstGeom>
        </p:spPr>
        <p:txBody>
          <a:bodyPr vert="horz" wrap="square" lIns="0" tIns="11766" rIns="0" bIns="0" rtlCol="0">
            <a:spAutoFit/>
          </a:bodyPr>
          <a:lstStyle/>
          <a:p>
            <a:pPr marL="11206" defTabSz="806867">
              <a:spcBef>
                <a:spcPts val="93"/>
              </a:spcBef>
            </a:pPr>
            <a:r>
              <a:rPr sz="1235" spc="106" dirty="0">
                <a:solidFill>
                  <a:prstClr val="black"/>
                </a:solidFill>
                <a:latin typeface="Times New Roman"/>
                <a:cs typeface="Times New Roman"/>
              </a:rPr>
              <a:t>Employees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598520" y="3509733"/>
            <a:ext cx="756957" cy="903739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marR="4483" defTabSz="806867">
              <a:lnSpc>
                <a:spcPct val="120000"/>
              </a:lnSpc>
              <a:spcBef>
                <a:spcPts val="88"/>
              </a:spcBef>
            </a:pPr>
            <a:r>
              <a:rPr sz="1235" spc="4" dirty="0">
                <a:solidFill>
                  <a:prstClr val="black"/>
                </a:solidFill>
                <a:latin typeface="Times New Roman"/>
                <a:cs typeface="Times New Roman"/>
              </a:rPr>
              <a:t>Activities  </a:t>
            </a:r>
            <a:r>
              <a:rPr sz="1235" spc="35" dirty="0">
                <a:solidFill>
                  <a:prstClr val="black"/>
                </a:solidFill>
                <a:latin typeface="Times New Roman"/>
                <a:cs typeface="Times New Roman"/>
              </a:rPr>
              <a:t>Apparel  </a:t>
            </a:r>
            <a:r>
              <a:rPr sz="1235" spc="22" dirty="0">
                <a:solidFill>
                  <a:prstClr val="black"/>
                </a:solidFill>
                <a:latin typeface="Times New Roman"/>
                <a:cs typeface="Times New Roman"/>
              </a:rPr>
              <a:t>Training  </a:t>
            </a:r>
            <a:r>
              <a:rPr sz="1235" spc="-75" dirty="0">
                <a:solidFill>
                  <a:prstClr val="black"/>
                </a:solidFill>
                <a:latin typeface="Times New Roman"/>
                <a:cs typeface="Times New Roman"/>
              </a:rPr>
              <a:t>M</a:t>
            </a:r>
            <a:r>
              <a:rPr sz="1235" spc="62" dirty="0">
                <a:solidFill>
                  <a:prstClr val="black"/>
                </a:solidFill>
                <a:latin typeface="Times New Roman"/>
                <a:cs typeface="Times New Roman"/>
              </a:rPr>
              <a:t>o</a:t>
            </a:r>
            <a:r>
              <a:rPr sz="1235" spc="75" dirty="0">
                <a:solidFill>
                  <a:prstClr val="black"/>
                </a:solidFill>
                <a:latin typeface="Times New Roman"/>
                <a:cs typeface="Times New Roman"/>
              </a:rPr>
              <a:t>n</a:t>
            </a:r>
            <a:r>
              <a:rPr sz="1235" spc="-75" dirty="0">
                <a:solidFill>
                  <a:prstClr val="black"/>
                </a:solidFill>
                <a:latin typeface="Times New Roman"/>
                <a:cs typeface="Times New Roman"/>
              </a:rPr>
              <a:t>i</a:t>
            </a:r>
            <a:r>
              <a:rPr sz="1235" spc="-4" dirty="0">
                <a:solidFill>
                  <a:prstClr val="black"/>
                </a:solidFill>
                <a:latin typeface="Times New Roman"/>
                <a:cs typeface="Times New Roman"/>
              </a:rPr>
              <a:t>t</a:t>
            </a:r>
            <a:r>
              <a:rPr sz="1235" spc="75" dirty="0">
                <a:solidFill>
                  <a:prstClr val="black"/>
                </a:solidFill>
                <a:latin typeface="Times New Roman"/>
                <a:cs typeface="Times New Roman"/>
              </a:rPr>
              <a:t>o</a:t>
            </a:r>
            <a:r>
              <a:rPr sz="1235" spc="-4" dirty="0">
                <a:solidFill>
                  <a:prstClr val="black"/>
                </a:solidFill>
                <a:latin typeface="Times New Roman"/>
                <a:cs typeface="Times New Roman"/>
              </a:rPr>
              <a:t>r</a:t>
            </a:r>
            <a:r>
              <a:rPr sz="1235" spc="-62" dirty="0">
                <a:solidFill>
                  <a:prstClr val="black"/>
                </a:solidFill>
                <a:latin typeface="Times New Roman"/>
                <a:cs typeface="Times New Roman"/>
              </a:rPr>
              <a:t>i</a:t>
            </a:r>
            <a:r>
              <a:rPr sz="1235" spc="62" dirty="0">
                <a:solidFill>
                  <a:prstClr val="black"/>
                </a:solidFill>
                <a:latin typeface="Times New Roman"/>
                <a:cs typeface="Times New Roman"/>
              </a:rPr>
              <a:t>n</a:t>
            </a:r>
            <a:r>
              <a:rPr sz="1235" spc="71" dirty="0">
                <a:solidFill>
                  <a:prstClr val="black"/>
                </a:solidFill>
                <a:latin typeface="Times New Roman"/>
                <a:cs typeface="Times New Roman"/>
              </a:rPr>
              <a:t>g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850345" y="3080759"/>
            <a:ext cx="1352550" cy="1334626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marR="439294" defTabSz="806867">
              <a:lnSpc>
                <a:spcPct val="110000"/>
              </a:lnSpc>
              <a:spcBef>
                <a:spcPts val="88"/>
              </a:spcBef>
            </a:pPr>
            <a:r>
              <a:rPr sz="1235" spc="106" dirty="0">
                <a:solidFill>
                  <a:prstClr val="black"/>
                </a:solidFill>
                <a:latin typeface="Times New Roman"/>
                <a:cs typeface="Times New Roman"/>
              </a:rPr>
              <a:t>Equipment</a:t>
            </a:r>
            <a:r>
              <a:rPr sz="1235" spc="-71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-4" dirty="0">
                <a:solidFill>
                  <a:prstClr val="black"/>
                </a:solidFill>
                <a:latin typeface="Times New Roman"/>
                <a:cs typeface="Times New Roman"/>
              </a:rPr>
              <a:t>/  </a:t>
            </a:r>
            <a:r>
              <a:rPr sz="1235" spc="128" dirty="0">
                <a:solidFill>
                  <a:prstClr val="black"/>
                </a:solidFill>
                <a:latin typeface="Times New Roman"/>
                <a:cs typeface="Times New Roman"/>
              </a:rPr>
              <a:t>Procedures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163054" marR="4483" defTabSz="806867">
              <a:lnSpc>
                <a:spcPct val="120000"/>
              </a:lnSpc>
              <a:spcBef>
                <a:spcPts val="115"/>
              </a:spcBef>
            </a:pPr>
            <a:r>
              <a:rPr sz="1235" spc="-4" dirty="0">
                <a:solidFill>
                  <a:prstClr val="black"/>
                </a:solidFill>
                <a:latin typeface="Times New Roman"/>
                <a:cs typeface="Times New Roman"/>
              </a:rPr>
              <a:t>D</a:t>
            </a:r>
            <a:r>
              <a:rPr sz="1235" spc="128" dirty="0">
                <a:solidFill>
                  <a:prstClr val="black"/>
                </a:solidFill>
                <a:latin typeface="Times New Roman"/>
                <a:cs typeface="Times New Roman"/>
              </a:rPr>
              <a:t>e</a:t>
            </a:r>
            <a:r>
              <a:rPr sz="1235" spc="79" dirty="0">
                <a:solidFill>
                  <a:prstClr val="black"/>
                </a:solidFill>
                <a:latin typeface="Times New Roman"/>
                <a:cs typeface="Times New Roman"/>
              </a:rPr>
              <a:t>c</a:t>
            </a:r>
            <a:r>
              <a:rPr sz="1235" spc="62" dirty="0">
                <a:solidFill>
                  <a:prstClr val="black"/>
                </a:solidFill>
                <a:latin typeface="Times New Roman"/>
                <a:cs typeface="Times New Roman"/>
              </a:rPr>
              <a:t>o</a:t>
            </a:r>
            <a:r>
              <a:rPr sz="1235" spc="75" dirty="0">
                <a:solidFill>
                  <a:prstClr val="black"/>
                </a:solidFill>
                <a:latin typeface="Times New Roman"/>
                <a:cs typeface="Times New Roman"/>
              </a:rPr>
              <a:t>n</a:t>
            </a:r>
            <a:r>
              <a:rPr sz="1235" spc="-4" dirty="0">
                <a:solidFill>
                  <a:prstClr val="black"/>
                </a:solidFill>
                <a:latin typeface="Times New Roman"/>
                <a:cs typeface="Times New Roman"/>
              </a:rPr>
              <a:t>t</a:t>
            </a:r>
            <a:r>
              <a:rPr sz="1235" spc="141" dirty="0">
                <a:solidFill>
                  <a:prstClr val="black"/>
                </a:solidFill>
                <a:latin typeface="Times New Roman"/>
                <a:cs typeface="Times New Roman"/>
              </a:rPr>
              <a:t>a</a:t>
            </a:r>
            <a:r>
              <a:rPr sz="1235" spc="66" dirty="0">
                <a:solidFill>
                  <a:prstClr val="black"/>
                </a:solidFill>
                <a:latin typeface="Times New Roman"/>
                <a:cs typeface="Times New Roman"/>
              </a:rPr>
              <a:t>m</a:t>
            </a:r>
            <a:r>
              <a:rPr sz="1235" spc="-75" dirty="0">
                <a:solidFill>
                  <a:prstClr val="black"/>
                </a:solidFill>
                <a:latin typeface="Times New Roman"/>
                <a:cs typeface="Times New Roman"/>
              </a:rPr>
              <a:t>i</a:t>
            </a:r>
            <a:r>
              <a:rPr sz="1235" spc="62" dirty="0">
                <a:solidFill>
                  <a:prstClr val="black"/>
                </a:solidFill>
                <a:latin typeface="Times New Roman"/>
                <a:cs typeface="Times New Roman"/>
              </a:rPr>
              <a:t>n</a:t>
            </a:r>
            <a:r>
              <a:rPr sz="1235" spc="128" dirty="0">
                <a:solidFill>
                  <a:prstClr val="black"/>
                </a:solidFill>
                <a:latin typeface="Times New Roman"/>
                <a:cs typeface="Times New Roman"/>
              </a:rPr>
              <a:t>a</a:t>
            </a:r>
            <a:r>
              <a:rPr sz="1235" spc="-4" dirty="0">
                <a:solidFill>
                  <a:prstClr val="black"/>
                </a:solidFill>
                <a:latin typeface="Times New Roman"/>
                <a:cs typeface="Times New Roman"/>
              </a:rPr>
              <a:t>t</a:t>
            </a:r>
            <a:r>
              <a:rPr sz="1235" spc="-75" dirty="0">
                <a:solidFill>
                  <a:prstClr val="black"/>
                </a:solidFill>
                <a:latin typeface="Times New Roman"/>
                <a:cs typeface="Times New Roman"/>
              </a:rPr>
              <a:t>i</a:t>
            </a:r>
            <a:r>
              <a:rPr sz="1235" spc="62" dirty="0">
                <a:solidFill>
                  <a:prstClr val="black"/>
                </a:solidFill>
                <a:latin typeface="Times New Roman"/>
                <a:cs typeface="Times New Roman"/>
              </a:rPr>
              <a:t>o</a:t>
            </a:r>
            <a:r>
              <a:rPr sz="1235" spc="44" dirty="0">
                <a:solidFill>
                  <a:prstClr val="black"/>
                </a:solidFill>
                <a:latin typeface="Times New Roman"/>
                <a:cs typeface="Times New Roman"/>
              </a:rPr>
              <a:t>n  </a:t>
            </a:r>
            <a:r>
              <a:rPr sz="1235" spc="66" dirty="0">
                <a:solidFill>
                  <a:prstClr val="black"/>
                </a:solidFill>
                <a:latin typeface="Times New Roman"/>
                <a:cs typeface="Times New Roman"/>
              </a:rPr>
              <a:t>Enclosures  </a:t>
            </a:r>
            <a:r>
              <a:rPr sz="1235" spc="62" dirty="0">
                <a:solidFill>
                  <a:prstClr val="black"/>
                </a:solidFill>
                <a:latin typeface="Times New Roman"/>
                <a:cs typeface="Times New Roman"/>
              </a:rPr>
              <a:t>Containers  </a:t>
            </a:r>
            <a:r>
              <a:rPr sz="1235" spc="66" dirty="0">
                <a:solidFill>
                  <a:prstClr val="black"/>
                </a:solidFill>
                <a:latin typeface="Times New Roman"/>
                <a:cs typeface="Times New Roman"/>
              </a:rPr>
              <a:t>Housekeeping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7896086" y="3099074"/>
            <a:ext cx="706531" cy="201933"/>
          </a:xfrm>
          <a:prstGeom prst="rect">
            <a:avLst/>
          </a:prstGeom>
        </p:spPr>
        <p:txBody>
          <a:bodyPr vert="horz" wrap="square" lIns="0" tIns="11766" rIns="0" bIns="0" rtlCol="0">
            <a:spAutoFit/>
          </a:bodyPr>
          <a:lstStyle/>
          <a:p>
            <a:pPr marL="11206" defTabSz="806867">
              <a:spcBef>
                <a:spcPts val="93"/>
              </a:spcBef>
            </a:pPr>
            <a:r>
              <a:rPr sz="1235" spc="75" dirty="0">
                <a:solidFill>
                  <a:prstClr val="black"/>
                </a:solidFill>
                <a:latin typeface="Times New Roman"/>
                <a:cs typeface="Times New Roman"/>
              </a:rPr>
              <a:t>Materials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8048049" y="3546868"/>
            <a:ext cx="928407" cy="620509"/>
          </a:xfrm>
          <a:prstGeom prst="rect">
            <a:avLst/>
          </a:prstGeom>
        </p:spPr>
        <p:txBody>
          <a:bodyPr vert="horz" wrap="square" lIns="0" tIns="11766" rIns="0" bIns="0" rtlCol="0">
            <a:spAutoFit/>
          </a:bodyPr>
          <a:lstStyle/>
          <a:p>
            <a:pPr marL="11206" marR="357487" defTabSz="806867">
              <a:spcBef>
                <a:spcPts val="93"/>
              </a:spcBef>
            </a:pPr>
            <a:r>
              <a:rPr sz="1235" spc="66" dirty="0">
                <a:solidFill>
                  <a:prstClr val="black"/>
                </a:solidFill>
                <a:latin typeface="Times New Roman"/>
                <a:cs typeface="Times New Roman"/>
              </a:rPr>
              <a:t>Clean  </a:t>
            </a:r>
            <a:r>
              <a:rPr sz="1235" spc="137" dirty="0">
                <a:solidFill>
                  <a:prstClr val="black"/>
                </a:solidFill>
                <a:latin typeface="Times New Roman"/>
                <a:cs typeface="Times New Roman"/>
              </a:rPr>
              <a:t>s</a:t>
            </a:r>
            <a:r>
              <a:rPr sz="1235" spc="75" dirty="0">
                <a:solidFill>
                  <a:prstClr val="black"/>
                </a:solidFill>
                <a:latin typeface="Times New Roman"/>
                <a:cs typeface="Times New Roman"/>
              </a:rPr>
              <a:t>ou</a:t>
            </a:r>
            <a:r>
              <a:rPr sz="1235" spc="-4" dirty="0">
                <a:solidFill>
                  <a:prstClr val="black"/>
                </a:solidFill>
                <a:latin typeface="Times New Roman"/>
                <a:cs typeface="Times New Roman"/>
              </a:rPr>
              <a:t>r</a:t>
            </a:r>
            <a:r>
              <a:rPr sz="1235" spc="71" dirty="0">
                <a:solidFill>
                  <a:prstClr val="black"/>
                </a:solidFill>
                <a:latin typeface="Times New Roman"/>
                <a:cs typeface="Times New Roman"/>
              </a:rPr>
              <a:t>c</a:t>
            </a:r>
            <a:r>
              <a:rPr sz="1235" spc="141" dirty="0">
                <a:solidFill>
                  <a:prstClr val="black"/>
                </a:solidFill>
                <a:latin typeface="Times New Roman"/>
                <a:cs typeface="Times New Roman"/>
              </a:rPr>
              <a:t>e</a:t>
            </a:r>
            <a:r>
              <a:rPr sz="1235" spc="137" dirty="0">
                <a:solidFill>
                  <a:prstClr val="black"/>
                </a:solidFill>
                <a:latin typeface="Times New Roman"/>
                <a:cs typeface="Times New Roman"/>
              </a:rPr>
              <a:t>s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11206" defTabSz="806867">
              <a:spcBef>
                <a:spcPts val="296"/>
              </a:spcBef>
            </a:pPr>
            <a:r>
              <a:rPr sz="1235" spc="31" dirty="0">
                <a:solidFill>
                  <a:prstClr val="black"/>
                </a:solidFill>
                <a:latin typeface="Times New Roman"/>
                <a:cs typeface="Times New Roman"/>
              </a:rPr>
              <a:t>Incoming</a:t>
            </a:r>
            <a:r>
              <a:rPr sz="1235" spc="-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dirty="0">
                <a:solidFill>
                  <a:prstClr val="black"/>
                </a:solidFill>
                <a:latin typeface="Times New Roman"/>
                <a:cs typeface="Times New Roman"/>
              </a:rPr>
              <a:t>QA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2218796" y="6122021"/>
            <a:ext cx="245409" cy="255678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1588" spc="75" dirty="0">
                <a:solidFill>
                  <a:prstClr val="black"/>
                </a:solidFill>
                <a:latin typeface="Times New Roman"/>
                <a:cs typeface="Times New Roman"/>
              </a:rPr>
              <a:t>1</a:t>
            </a:r>
            <a:r>
              <a:rPr sz="1588" spc="84" dirty="0">
                <a:solidFill>
                  <a:prstClr val="black"/>
                </a:solidFill>
                <a:latin typeface="Times New Roman"/>
                <a:cs typeface="Times New Roman"/>
              </a:rPr>
              <a:t>5</a:t>
            </a:r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6707841" y="4510144"/>
            <a:ext cx="767827" cy="170374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2450502" y="4701092"/>
            <a:ext cx="2018404" cy="132453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4665234" y="4701092"/>
            <a:ext cx="1787113" cy="1324534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7907319" y="4706471"/>
            <a:ext cx="1421354" cy="1129552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2320989" y="1145259"/>
            <a:ext cx="6644528" cy="1008908"/>
          </a:xfrm>
          <a:prstGeom prst="rect">
            <a:avLst/>
          </a:prstGeom>
        </p:spPr>
        <p:txBody>
          <a:bodyPr vert="horz" wrap="square" lIns="0" tIns="10646" rIns="0" bIns="0" rtlCol="0">
            <a:spAutoFit/>
          </a:bodyPr>
          <a:lstStyle/>
          <a:p>
            <a:pPr marL="11206" marR="4483" defTabSz="806867">
              <a:spcBef>
                <a:spcPts val="84"/>
              </a:spcBef>
            </a:pPr>
            <a:r>
              <a:rPr sz="1412" spc="71" dirty="0">
                <a:solidFill>
                  <a:srgbClr val="112F52"/>
                </a:solidFill>
                <a:latin typeface="Times New Roman"/>
                <a:cs typeface="Times New Roman"/>
              </a:rPr>
              <a:t>what </a:t>
            </a:r>
            <a:r>
              <a:rPr sz="1412" dirty="0">
                <a:solidFill>
                  <a:srgbClr val="112F52"/>
                </a:solidFill>
                <a:latin typeface="Times New Roman"/>
                <a:cs typeface="Times New Roman"/>
              </a:rPr>
              <a:t>is </a:t>
            </a:r>
            <a:r>
              <a:rPr sz="1412" spc="66" dirty="0">
                <a:solidFill>
                  <a:srgbClr val="112F52"/>
                </a:solidFill>
                <a:latin typeface="Times New Roman"/>
                <a:cs typeface="Times New Roman"/>
              </a:rPr>
              <a:t>mandatory </a:t>
            </a:r>
            <a:r>
              <a:rPr sz="1412" spc="18" dirty="0">
                <a:solidFill>
                  <a:srgbClr val="112F52"/>
                </a:solidFill>
                <a:latin typeface="Times New Roman"/>
                <a:cs typeface="Times New Roman"/>
              </a:rPr>
              <a:t>for </a:t>
            </a:r>
            <a:r>
              <a:rPr sz="1412" spc="-124" dirty="0">
                <a:solidFill>
                  <a:srgbClr val="112F52"/>
                </a:solidFill>
                <a:latin typeface="Times New Roman"/>
                <a:cs typeface="Times New Roman"/>
              </a:rPr>
              <a:t>Li </a:t>
            </a:r>
            <a:r>
              <a:rPr sz="1412" spc="18" dirty="0">
                <a:solidFill>
                  <a:srgbClr val="112F52"/>
                </a:solidFill>
                <a:latin typeface="Times New Roman"/>
                <a:cs typeface="Times New Roman"/>
              </a:rPr>
              <a:t>ion </a:t>
            </a:r>
            <a:r>
              <a:rPr sz="1412" spc="44" dirty="0">
                <a:solidFill>
                  <a:srgbClr val="112F52"/>
                </a:solidFill>
                <a:latin typeface="Times New Roman"/>
                <a:cs typeface="Times New Roman"/>
              </a:rPr>
              <a:t>production </a:t>
            </a:r>
            <a:r>
              <a:rPr sz="1412" spc="4" dirty="0">
                <a:solidFill>
                  <a:srgbClr val="112F52"/>
                </a:solidFill>
                <a:latin typeface="Times New Roman"/>
                <a:cs typeface="Times New Roman"/>
              </a:rPr>
              <a:t>:An </a:t>
            </a:r>
            <a:r>
              <a:rPr sz="1412" spc="62" dirty="0">
                <a:solidFill>
                  <a:srgbClr val="112F52"/>
                </a:solidFill>
                <a:latin typeface="Times New Roman"/>
                <a:cs typeface="Times New Roman"/>
              </a:rPr>
              <a:t>integrated </a:t>
            </a:r>
            <a:r>
              <a:rPr sz="1412" spc="66" dirty="0">
                <a:solidFill>
                  <a:srgbClr val="112F52"/>
                </a:solidFill>
                <a:latin typeface="Times New Roman"/>
                <a:cs typeface="Times New Roman"/>
              </a:rPr>
              <a:t>strategy </a:t>
            </a:r>
            <a:r>
              <a:rPr sz="1412" dirty="0">
                <a:solidFill>
                  <a:srgbClr val="112F52"/>
                </a:solidFill>
                <a:latin typeface="Times New Roman"/>
                <a:cs typeface="Times New Roman"/>
              </a:rPr>
              <a:t>is </a:t>
            </a:r>
            <a:r>
              <a:rPr sz="1412" spc="93" dirty="0">
                <a:solidFill>
                  <a:srgbClr val="112F52"/>
                </a:solidFill>
                <a:latin typeface="Times New Roman"/>
                <a:cs typeface="Times New Roman"/>
              </a:rPr>
              <a:t>needed </a:t>
            </a:r>
            <a:r>
              <a:rPr sz="1412" spc="66" dirty="0">
                <a:solidFill>
                  <a:srgbClr val="112F52"/>
                </a:solidFill>
                <a:latin typeface="Times New Roman"/>
                <a:cs typeface="Times New Roman"/>
              </a:rPr>
              <a:t>to </a:t>
            </a:r>
            <a:r>
              <a:rPr sz="1412" spc="79" dirty="0">
                <a:solidFill>
                  <a:srgbClr val="112F52"/>
                </a:solidFill>
                <a:latin typeface="Times New Roman"/>
                <a:cs typeface="Times New Roman"/>
              </a:rPr>
              <a:t>ensure  </a:t>
            </a:r>
            <a:r>
              <a:rPr sz="1412" spc="49" dirty="0">
                <a:solidFill>
                  <a:srgbClr val="112F52"/>
                </a:solidFill>
                <a:latin typeface="Times New Roman"/>
                <a:cs typeface="Times New Roman"/>
              </a:rPr>
              <a:t>contamination</a:t>
            </a:r>
            <a:r>
              <a:rPr sz="1412" spc="124" dirty="0">
                <a:solidFill>
                  <a:srgbClr val="112F52"/>
                </a:solidFill>
                <a:latin typeface="Times New Roman"/>
                <a:cs typeface="Times New Roman"/>
              </a:rPr>
              <a:t> </a:t>
            </a:r>
            <a:r>
              <a:rPr sz="1412" spc="40" dirty="0">
                <a:solidFill>
                  <a:srgbClr val="112F52"/>
                </a:solidFill>
                <a:latin typeface="Times New Roman"/>
                <a:cs typeface="Times New Roman"/>
              </a:rPr>
              <a:t>control:</a:t>
            </a:r>
            <a:endParaRPr sz="1412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defTabSz="806867">
              <a:spcBef>
                <a:spcPts val="44"/>
              </a:spcBef>
            </a:pPr>
            <a:endParaRPr sz="2074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2190867" defTabSz="806867"/>
            <a:r>
              <a:rPr sz="1588" spc="119" dirty="0">
                <a:solidFill>
                  <a:prstClr val="black"/>
                </a:solidFill>
                <a:latin typeface="Times New Roman"/>
                <a:cs typeface="Times New Roman"/>
              </a:rPr>
              <a:t>The </a:t>
            </a:r>
            <a:r>
              <a:rPr sz="1588" spc="128" dirty="0">
                <a:solidFill>
                  <a:prstClr val="black"/>
                </a:solidFill>
                <a:latin typeface="Times New Roman"/>
                <a:cs typeface="Times New Roman"/>
              </a:rPr>
              <a:t>Contamination </a:t>
            </a:r>
            <a:r>
              <a:rPr sz="1588" spc="110" dirty="0">
                <a:solidFill>
                  <a:prstClr val="black"/>
                </a:solidFill>
                <a:latin typeface="Times New Roman"/>
                <a:cs typeface="Times New Roman"/>
              </a:rPr>
              <a:t>Control</a:t>
            </a:r>
            <a:r>
              <a:rPr sz="1588" spc="-154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19" dirty="0">
                <a:solidFill>
                  <a:prstClr val="black"/>
                </a:solidFill>
                <a:latin typeface="Times New Roman"/>
                <a:cs typeface="Times New Roman"/>
              </a:rPr>
              <a:t>Chain</a:t>
            </a:r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2560319" y="6104519"/>
            <a:ext cx="692524" cy="229120"/>
          </a:xfrm>
          <a:prstGeom prst="rect">
            <a:avLst/>
          </a:prstGeom>
        </p:spPr>
        <p:txBody>
          <a:bodyPr vert="horz" wrap="square" lIns="0" tIns="11766" rIns="0" bIns="0" rtlCol="0">
            <a:spAutoFit/>
          </a:bodyPr>
          <a:lstStyle/>
          <a:p>
            <a:pPr marL="11206" defTabSz="806867">
              <a:spcBef>
                <a:spcPts val="93"/>
              </a:spcBef>
            </a:pPr>
            <a:r>
              <a:rPr sz="706" spc="-26" dirty="0">
                <a:solidFill>
                  <a:prstClr val="black"/>
                </a:solidFill>
                <a:latin typeface="Times New Roman"/>
                <a:cs typeface="Times New Roman"/>
              </a:rPr>
              <a:t>EVOLIS- </a:t>
            </a:r>
            <a:r>
              <a:rPr sz="706" spc="35" dirty="0">
                <a:solidFill>
                  <a:prstClr val="black"/>
                </a:solidFill>
                <a:latin typeface="Times New Roman"/>
                <a:cs typeface="Times New Roman"/>
              </a:rPr>
              <a:t>Saft</a:t>
            </a:r>
            <a:r>
              <a:rPr sz="706" spc="-4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706" spc="22" dirty="0">
                <a:solidFill>
                  <a:prstClr val="black"/>
                </a:solidFill>
                <a:latin typeface="Times New Roman"/>
                <a:cs typeface="Times New Roman"/>
              </a:rPr>
              <a:t>6-7</a:t>
            </a:r>
            <a:endParaRPr sz="706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11206" defTabSz="806867"/>
            <a:r>
              <a:rPr sz="706" spc="31" dirty="0">
                <a:solidFill>
                  <a:prstClr val="black"/>
                </a:solidFill>
                <a:latin typeface="Times New Roman"/>
                <a:cs typeface="Times New Roman"/>
              </a:rPr>
              <a:t>NOV</a:t>
            </a:r>
            <a:r>
              <a:rPr sz="706" spc="4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706" spc="35" dirty="0">
                <a:solidFill>
                  <a:prstClr val="black"/>
                </a:solidFill>
                <a:latin typeface="Times New Roman"/>
                <a:cs typeface="Times New Roman"/>
              </a:rPr>
              <a:t>2019</a:t>
            </a:r>
            <a:endParaRPr sz="706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061883" y="1011218"/>
            <a:ext cx="8068235" cy="10085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9570720" y="6154718"/>
            <a:ext cx="145228" cy="9412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9793941" y="6173545"/>
            <a:ext cx="48745" cy="75640"/>
          </a:xfrm>
          <a:custGeom>
            <a:avLst/>
            <a:gdLst/>
            <a:ahLst/>
            <a:cxnLst/>
            <a:rect l="l" t="t" r="r" b="b"/>
            <a:pathLst>
              <a:path w="55245" h="85725">
                <a:moveTo>
                  <a:pt x="0" y="0"/>
                </a:moveTo>
                <a:lnTo>
                  <a:pt x="54864" y="0"/>
                </a:lnTo>
                <a:lnTo>
                  <a:pt x="54864" y="85344"/>
                </a:lnTo>
                <a:lnTo>
                  <a:pt x="0" y="85344"/>
                </a:lnTo>
                <a:lnTo>
                  <a:pt x="0" y="0"/>
                </a:lnTo>
                <a:close/>
              </a:path>
            </a:pathLst>
          </a:custGeom>
          <a:solidFill>
            <a:srgbClr val="C11F2D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9740153" y="6164804"/>
            <a:ext cx="156322" cy="0"/>
          </a:xfrm>
          <a:custGeom>
            <a:avLst/>
            <a:gdLst/>
            <a:ahLst/>
            <a:cxnLst/>
            <a:rect l="l" t="t" r="r" b="b"/>
            <a:pathLst>
              <a:path w="177165">
                <a:moveTo>
                  <a:pt x="0" y="0"/>
                </a:moveTo>
                <a:lnTo>
                  <a:pt x="176784" y="0"/>
                </a:lnTo>
              </a:path>
            </a:pathLst>
          </a:custGeom>
          <a:ln w="22860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9194201" y="6154718"/>
            <a:ext cx="151952" cy="9412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9373048" y="6154718"/>
            <a:ext cx="160020" cy="9412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9194202" y="6312722"/>
            <a:ext cx="705971" cy="0"/>
          </a:xfrm>
          <a:custGeom>
            <a:avLst/>
            <a:gdLst/>
            <a:ahLst/>
            <a:cxnLst/>
            <a:rect l="l" t="t" r="r" b="b"/>
            <a:pathLst>
              <a:path w="800100">
                <a:moveTo>
                  <a:pt x="0" y="0"/>
                </a:moveTo>
                <a:lnTo>
                  <a:pt x="800100" y="0"/>
                </a:lnTo>
              </a:path>
            </a:pathLst>
          </a:custGeom>
          <a:ln w="53340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2538581" y="6196405"/>
            <a:ext cx="0" cy="118782"/>
          </a:xfrm>
          <a:custGeom>
            <a:avLst/>
            <a:gdLst/>
            <a:ahLst/>
            <a:cxnLst/>
            <a:rect l="l" t="t" r="r" b="b"/>
            <a:pathLst>
              <a:path h="134620">
                <a:moveTo>
                  <a:pt x="0" y="0"/>
                </a:moveTo>
                <a:lnTo>
                  <a:pt x="0" y="134112"/>
                </a:lnTo>
              </a:path>
            </a:pathLst>
          </a:custGeom>
          <a:ln w="10668">
            <a:solidFill>
              <a:srgbClr val="595959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018449" y="6174429"/>
            <a:ext cx="2180104" cy="133528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794" spc="49" dirty="0">
                <a:solidFill>
                  <a:prstClr val="black"/>
                </a:solidFill>
                <a:latin typeface="Times New Roman"/>
                <a:cs typeface="Times New Roman"/>
              </a:rPr>
              <a:t>Informations </a:t>
            </a:r>
            <a:r>
              <a:rPr sz="794" spc="71" dirty="0">
                <a:solidFill>
                  <a:prstClr val="black"/>
                </a:solidFill>
                <a:latin typeface="Times New Roman"/>
                <a:cs typeface="Times New Roman"/>
              </a:rPr>
              <a:t>propriété </a:t>
            </a:r>
            <a:r>
              <a:rPr sz="794" spc="150" dirty="0">
                <a:solidFill>
                  <a:prstClr val="black"/>
                </a:solidFill>
                <a:latin typeface="Times New Roman"/>
                <a:cs typeface="Times New Roman"/>
              </a:rPr>
              <a:t>de</a:t>
            </a:r>
            <a:r>
              <a:rPr sz="794" spc="-79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794" spc="40" dirty="0">
                <a:solidFill>
                  <a:prstClr val="black"/>
                </a:solidFill>
                <a:latin typeface="Times New Roman"/>
                <a:cs typeface="Times New Roman"/>
              </a:rPr>
              <a:t>Saft </a:t>
            </a:r>
            <a:r>
              <a:rPr sz="794" dirty="0">
                <a:solidFill>
                  <a:prstClr val="black"/>
                </a:solidFill>
                <a:latin typeface="Times New Roman"/>
                <a:cs typeface="Times New Roman"/>
              </a:rPr>
              <a:t>– </a:t>
            </a:r>
            <a:r>
              <a:rPr sz="794" spc="57" dirty="0">
                <a:solidFill>
                  <a:prstClr val="black"/>
                </a:solidFill>
                <a:latin typeface="Times New Roman"/>
                <a:cs typeface="Times New Roman"/>
              </a:rPr>
              <a:t>Confidentiel</a:t>
            </a:r>
            <a:endParaRPr sz="794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2061883" y="1613648"/>
            <a:ext cx="8068235" cy="44778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9202271" y="2390887"/>
            <a:ext cx="404756" cy="75706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9192857" y="2384163"/>
            <a:ext cx="421341" cy="772085"/>
          </a:xfrm>
          <a:custGeom>
            <a:avLst/>
            <a:gdLst/>
            <a:ahLst/>
            <a:cxnLst/>
            <a:rect l="l" t="t" r="r" b="b"/>
            <a:pathLst>
              <a:path w="477520" h="875029">
                <a:moveTo>
                  <a:pt x="269315" y="694955"/>
                </a:moveTo>
                <a:lnTo>
                  <a:pt x="248412" y="621792"/>
                </a:lnTo>
                <a:lnTo>
                  <a:pt x="234696" y="580644"/>
                </a:lnTo>
                <a:lnTo>
                  <a:pt x="220980" y="537972"/>
                </a:lnTo>
                <a:lnTo>
                  <a:pt x="205740" y="495300"/>
                </a:lnTo>
                <a:lnTo>
                  <a:pt x="190500" y="454152"/>
                </a:lnTo>
                <a:lnTo>
                  <a:pt x="140208" y="330708"/>
                </a:lnTo>
                <a:lnTo>
                  <a:pt x="121920" y="289560"/>
                </a:lnTo>
                <a:lnTo>
                  <a:pt x="103632" y="249936"/>
                </a:lnTo>
                <a:lnTo>
                  <a:pt x="85344" y="208788"/>
                </a:lnTo>
                <a:lnTo>
                  <a:pt x="45720" y="129540"/>
                </a:lnTo>
                <a:lnTo>
                  <a:pt x="3048" y="51816"/>
                </a:lnTo>
                <a:lnTo>
                  <a:pt x="0" y="45720"/>
                </a:lnTo>
                <a:lnTo>
                  <a:pt x="3048" y="38100"/>
                </a:lnTo>
                <a:lnTo>
                  <a:pt x="9144" y="33528"/>
                </a:lnTo>
                <a:lnTo>
                  <a:pt x="67056" y="1524"/>
                </a:lnTo>
                <a:lnTo>
                  <a:pt x="70104" y="0"/>
                </a:lnTo>
                <a:lnTo>
                  <a:pt x="73152" y="0"/>
                </a:lnTo>
                <a:lnTo>
                  <a:pt x="76200" y="1524"/>
                </a:lnTo>
                <a:lnTo>
                  <a:pt x="79248" y="1524"/>
                </a:lnTo>
                <a:lnTo>
                  <a:pt x="82296" y="4572"/>
                </a:lnTo>
                <a:lnTo>
                  <a:pt x="83820" y="7620"/>
                </a:lnTo>
                <a:lnTo>
                  <a:pt x="90384" y="19812"/>
                </a:lnTo>
                <a:lnTo>
                  <a:pt x="60960" y="19812"/>
                </a:lnTo>
                <a:lnTo>
                  <a:pt x="67381" y="30941"/>
                </a:lnTo>
                <a:lnTo>
                  <a:pt x="51670" y="39624"/>
                </a:lnTo>
                <a:lnTo>
                  <a:pt x="25908" y="39624"/>
                </a:lnTo>
                <a:lnTo>
                  <a:pt x="21336" y="56388"/>
                </a:lnTo>
                <a:lnTo>
                  <a:pt x="34934" y="56388"/>
                </a:lnTo>
                <a:lnTo>
                  <a:pt x="68580" y="118872"/>
                </a:lnTo>
                <a:lnTo>
                  <a:pt x="108204" y="198120"/>
                </a:lnTo>
                <a:lnTo>
                  <a:pt x="128016" y="239268"/>
                </a:lnTo>
                <a:lnTo>
                  <a:pt x="146304" y="280416"/>
                </a:lnTo>
                <a:lnTo>
                  <a:pt x="163068" y="321564"/>
                </a:lnTo>
                <a:lnTo>
                  <a:pt x="181356" y="362712"/>
                </a:lnTo>
                <a:lnTo>
                  <a:pt x="198120" y="403860"/>
                </a:lnTo>
                <a:lnTo>
                  <a:pt x="213360" y="445008"/>
                </a:lnTo>
                <a:lnTo>
                  <a:pt x="230124" y="487680"/>
                </a:lnTo>
                <a:lnTo>
                  <a:pt x="243840" y="530352"/>
                </a:lnTo>
                <a:lnTo>
                  <a:pt x="259080" y="573024"/>
                </a:lnTo>
                <a:lnTo>
                  <a:pt x="272796" y="615696"/>
                </a:lnTo>
                <a:lnTo>
                  <a:pt x="294567" y="691896"/>
                </a:lnTo>
                <a:lnTo>
                  <a:pt x="283464" y="691896"/>
                </a:lnTo>
                <a:lnTo>
                  <a:pt x="269315" y="694955"/>
                </a:lnTo>
                <a:close/>
              </a:path>
              <a:path w="477520" h="875029">
                <a:moveTo>
                  <a:pt x="67381" y="30941"/>
                </a:moveTo>
                <a:lnTo>
                  <a:pt x="60960" y="19812"/>
                </a:lnTo>
                <a:lnTo>
                  <a:pt x="79248" y="24384"/>
                </a:lnTo>
                <a:lnTo>
                  <a:pt x="67381" y="30941"/>
                </a:lnTo>
                <a:close/>
              </a:path>
              <a:path w="477520" h="875029">
                <a:moveTo>
                  <a:pt x="345948" y="704088"/>
                </a:moveTo>
                <a:lnTo>
                  <a:pt x="339852" y="699516"/>
                </a:lnTo>
                <a:lnTo>
                  <a:pt x="338328" y="693420"/>
                </a:lnTo>
                <a:lnTo>
                  <a:pt x="326136" y="649224"/>
                </a:lnTo>
                <a:lnTo>
                  <a:pt x="312420" y="606552"/>
                </a:lnTo>
                <a:lnTo>
                  <a:pt x="298704" y="562356"/>
                </a:lnTo>
                <a:lnTo>
                  <a:pt x="268224" y="477012"/>
                </a:lnTo>
                <a:lnTo>
                  <a:pt x="252984" y="432816"/>
                </a:lnTo>
                <a:lnTo>
                  <a:pt x="236220" y="391668"/>
                </a:lnTo>
                <a:lnTo>
                  <a:pt x="219456" y="348996"/>
                </a:lnTo>
                <a:lnTo>
                  <a:pt x="201168" y="306324"/>
                </a:lnTo>
                <a:lnTo>
                  <a:pt x="182880" y="265176"/>
                </a:lnTo>
                <a:lnTo>
                  <a:pt x="164592" y="222504"/>
                </a:lnTo>
                <a:lnTo>
                  <a:pt x="124968" y="140208"/>
                </a:lnTo>
                <a:lnTo>
                  <a:pt x="105156" y="100584"/>
                </a:lnTo>
                <a:lnTo>
                  <a:pt x="83820" y="59436"/>
                </a:lnTo>
                <a:lnTo>
                  <a:pt x="67381" y="30941"/>
                </a:lnTo>
                <a:lnTo>
                  <a:pt x="79248" y="24384"/>
                </a:lnTo>
                <a:lnTo>
                  <a:pt x="60960" y="19812"/>
                </a:lnTo>
                <a:lnTo>
                  <a:pt x="90384" y="19812"/>
                </a:lnTo>
                <a:lnTo>
                  <a:pt x="147828" y="129540"/>
                </a:lnTo>
                <a:lnTo>
                  <a:pt x="187452" y="211836"/>
                </a:lnTo>
                <a:lnTo>
                  <a:pt x="207264" y="254508"/>
                </a:lnTo>
                <a:lnTo>
                  <a:pt x="225552" y="295656"/>
                </a:lnTo>
                <a:lnTo>
                  <a:pt x="242316" y="338328"/>
                </a:lnTo>
                <a:lnTo>
                  <a:pt x="260604" y="381000"/>
                </a:lnTo>
                <a:lnTo>
                  <a:pt x="275844" y="423672"/>
                </a:lnTo>
                <a:lnTo>
                  <a:pt x="292608" y="467868"/>
                </a:lnTo>
                <a:lnTo>
                  <a:pt x="307848" y="510540"/>
                </a:lnTo>
                <a:lnTo>
                  <a:pt x="323088" y="554736"/>
                </a:lnTo>
                <a:lnTo>
                  <a:pt x="336804" y="598932"/>
                </a:lnTo>
                <a:lnTo>
                  <a:pt x="348996" y="641604"/>
                </a:lnTo>
                <a:lnTo>
                  <a:pt x="359490" y="675419"/>
                </a:lnTo>
                <a:lnTo>
                  <a:pt x="347472" y="678180"/>
                </a:lnTo>
                <a:lnTo>
                  <a:pt x="362712" y="685800"/>
                </a:lnTo>
                <a:lnTo>
                  <a:pt x="431101" y="685800"/>
                </a:lnTo>
                <a:lnTo>
                  <a:pt x="353568" y="702564"/>
                </a:lnTo>
                <a:lnTo>
                  <a:pt x="345948" y="704088"/>
                </a:lnTo>
                <a:close/>
              </a:path>
              <a:path w="477520" h="875029">
                <a:moveTo>
                  <a:pt x="21336" y="56388"/>
                </a:moveTo>
                <a:lnTo>
                  <a:pt x="25908" y="39624"/>
                </a:lnTo>
                <a:lnTo>
                  <a:pt x="31816" y="50596"/>
                </a:lnTo>
                <a:lnTo>
                  <a:pt x="21336" y="56388"/>
                </a:lnTo>
                <a:close/>
              </a:path>
              <a:path w="477520" h="875029">
                <a:moveTo>
                  <a:pt x="31816" y="50596"/>
                </a:moveTo>
                <a:lnTo>
                  <a:pt x="25908" y="39624"/>
                </a:lnTo>
                <a:lnTo>
                  <a:pt x="51670" y="39624"/>
                </a:lnTo>
                <a:lnTo>
                  <a:pt x="31816" y="50596"/>
                </a:lnTo>
                <a:close/>
              </a:path>
              <a:path w="477520" h="875029">
                <a:moveTo>
                  <a:pt x="34934" y="56388"/>
                </a:moveTo>
                <a:lnTo>
                  <a:pt x="21336" y="56388"/>
                </a:lnTo>
                <a:lnTo>
                  <a:pt x="31816" y="50596"/>
                </a:lnTo>
                <a:lnTo>
                  <a:pt x="34934" y="56388"/>
                </a:lnTo>
                <a:close/>
              </a:path>
              <a:path w="477520" h="875029">
                <a:moveTo>
                  <a:pt x="431101" y="685800"/>
                </a:moveTo>
                <a:lnTo>
                  <a:pt x="362712" y="685800"/>
                </a:lnTo>
                <a:lnTo>
                  <a:pt x="359490" y="675419"/>
                </a:lnTo>
                <a:lnTo>
                  <a:pt x="460248" y="652272"/>
                </a:lnTo>
                <a:lnTo>
                  <a:pt x="464820" y="652272"/>
                </a:lnTo>
                <a:lnTo>
                  <a:pt x="470916" y="653796"/>
                </a:lnTo>
                <a:lnTo>
                  <a:pt x="472440" y="656844"/>
                </a:lnTo>
                <a:lnTo>
                  <a:pt x="474472" y="659892"/>
                </a:lnTo>
                <a:lnTo>
                  <a:pt x="451104" y="659892"/>
                </a:lnTo>
                <a:lnTo>
                  <a:pt x="438150" y="684276"/>
                </a:lnTo>
                <a:lnTo>
                  <a:pt x="431101" y="685800"/>
                </a:lnTo>
                <a:close/>
              </a:path>
              <a:path w="477520" h="875029">
                <a:moveTo>
                  <a:pt x="438150" y="684276"/>
                </a:moveTo>
                <a:lnTo>
                  <a:pt x="451104" y="659892"/>
                </a:lnTo>
                <a:lnTo>
                  <a:pt x="466344" y="678180"/>
                </a:lnTo>
                <a:lnTo>
                  <a:pt x="438150" y="684276"/>
                </a:lnTo>
                <a:close/>
              </a:path>
              <a:path w="477520" h="875029">
                <a:moveTo>
                  <a:pt x="376758" y="854964"/>
                </a:moveTo>
                <a:lnTo>
                  <a:pt x="347472" y="854964"/>
                </a:lnTo>
                <a:lnTo>
                  <a:pt x="367284" y="850392"/>
                </a:lnTo>
                <a:lnTo>
                  <a:pt x="354608" y="841529"/>
                </a:lnTo>
                <a:lnTo>
                  <a:pt x="438150" y="684276"/>
                </a:lnTo>
                <a:lnTo>
                  <a:pt x="466344" y="678180"/>
                </a:lnTo>
                <a:lnTo>
                  <a:pt x="451104" y="659892"/>
                </a:lnTo>
                <a:lnTo>
                  <a:pt x="474472" y="659892"/>
                </a:lnTo>
                <a:lnTo>
                  <a:pt x="475488" y="661416"/>
                </a:lnTo>
                <a:lnTo>
                  <a:pt x="477012" y="665988"/>
                </a:lnTo>
                <a:lnTo>
                  <a:pt x="473964" y="670560"/>
                </a:lnTo>
                <a:lnTo>
                  <a:pt x="376758" y="854964"/>
                </a:lnTo>
                <a:close/>
              </a:path>
              <a:path w="477520" h="875029">
                <a:moveTo>
                  <a:pt x="362712" y="685800"/>
                </a:moveTo>
                <a:lnTo>
                  <a:pt x="347472" y="678180"/>
                </a:lnTo>
                <a:lnTo>
                  <a:pt x="359490" y="675419"/>
                </a:lnTo>
                <a:lnTo>
                  <a:pt x="362712" y="685800"/>
                </a:lnTo>
                <a:close/>
              </a:path>
              <a:path w="477520" h="875029">
                <a:moveTo>
                  <a:pt x="272796" y="707136"/>
                </a:moveTo>
                <a:lnTo>
                  <a:pt x="269315" y="694955"/>
                </a:lnTo>
                <a:lnTo>
                  <a:pt x="283464" y="691896"/>
                </a:lnTo>
                <a:lnTo>
                  <a:pt x="272796" y="707136"/>
                </a:lnTo>
                <a:close/>
              </a:path>
              <a:path w="477520" h="875029">
                <a:moveTo>
                  <a:pt x="298704" y="707136"/>
                </a:moveTo>
                <a:lnTo>
                  <a:pt x="272796" y="707136"/>
                </a:lnTo>
                <a:lnTo>
                  <a:pt x="283464" y="691896"/>
                </a:lnTo>
                <a:lnTo>
                  <a:pt x="294567" y="691896"/>
                </a:lnTo>
                <a:lnTo>
                  <a:pt x="297180" y="701040"/>
                </a:lnTo>
                <a:lnTo>
                  <a:pt x="298704" y="704088"/>
                </a:lnTo>
                <a:lnTo>
                  <a:pt x="298704" y="707136"/>
                </a:lnTo>
                <a:close/>
              </a:path>
              <a:path w="477520" h="875029">
                <a:moveTo>
                  <a:pt x="358140" y="874776"/>
                </a:moveTo>
                <a:lnTo>
                  <a:pt x="352044" y="871728"/>
                </a:lnTo>
                <a:lnTo>
                  <a:pt x="166116" y="739140"/>
                </a:lnTo>
                <a:lnTo>
                  <a:pt x="161544" y="736092"/>
                </a:lnTo>
                <a:lnTo>
                  <a:pt x="160020" y="731520"/>
                </a:lnTo>
                <a:lnTo>
                  <a:pt x="160020" y="726948"/>
                </a:lnTo>
                <a:lnTo>
                  <a:pt x="161544" y="722376"/>
                </a:lnTo>
                <a:lnTo>
                  <a:pt x="164592" y="717804"/>
                </a:lnTo>
                <a:lnTo>
                  <a:pt x="170688" y="716280"/>
                </a:lnTo>
                <a:lnTo>
                  <a:pt x="269315" y="694955"/>
                </a:lnTo>
                <a:lnTo>
                  <a:pt x="272796" y="707136"/>
                </a:lnTo>
                <a:lnTo>
                  <a:pt x="298704" y="707136"/>
                </a:lnTo>
                <a:lnTo>
                  <a:pt x="297180" y="710184"/>
                </a:lnTo>
                <a:lnTo>
                  <a:pt x="294132" y="713232"/>
                </a:lnTo>
                <a:lnTo>
                  <a:pt x="292608" y="716280"/>
                </a:lnTo>
                <a:lnTo>
                  <a:pt x="288036" y="716280"/>
                </a:lnTo>
                <a:lnTo>
                  <a:pt x="274768" y="719328"/>
                </a:lnTo>
                <a:lnTo>
                  <a:pt x="179832" y="719328"/>
                </a:lnTo>
                <a:lnTo>
                  <a:pt x="175260" y="742188"/>
                </a:lnTo>
                <a:lnTo>
                  <a:pt x="212527" y="742188"/>
                </a:lnTo>
                <a:lnTo>
                  <a:pt x="354608" y="841529"/>
                </a:lnTo>
                <a:lnTo>
                  <a:pt x="347472" y="854964"/>
                </a:lnTo>
                <a:lnTo>
                  <a:pt x="376758" y="854964"/>
                </a:lnTo>
                <a:lnTo>
                  <a:pt x="370332" y="867156"/>
                </a:lnTo>
                <a:lnTo>
                  <a:pt x="368808" y="870204"/>
                </a:lnTo>
                <a:lnTo>
                  <a:pt x="362712" y="873252"/>
                </a:lnTo>
                <a:lnTo>
                  <a:pt x="358140" y="874776"/>
                </a:lnTo>
                <a:close/>
              </a:path>
              <a:path w="477520" h="875029">
                <a:moveTo>
                  <a:pt x="175260" y="742188"/>
                </a:moveTo>
                <a:lnTo>
                  <a:pt x="179832" y="719328"/>
                </a:lnTo>
                <a:lnTo>
                  <a:pt x="203310" y="735743"/>
                </a:lnTo>
                <a:lnTo>
                  <a:pt x="175260" y="742188"/>
                </a:lnTo>
                <a:close/>
              </a:path>
              <a:path w="477520" h="875029">
                <a:moveTo>
                  <a:pt x="203310" y="735743"/>
                </a:moveTo>
                <a:lnTo>
                  <a:pt x="179832" y="719328"/>
                </a:lnTo>
                <a:lnTo>
                  <a:pt x="274768" y="719328"/>
                </a:lnTo>
                <a:lnTo>
                  <a:pt x="203310" y="735743"/>
                </a:lnTo>
                <a:close/>
              </a:path>
              <a:path w="477520" h="875029">
                <a:moveTo>
                  <a:pt x="212527" y="742188"/>
                </a:moveTo>
                <a:lnTo>
                  <a:pt x="175260" y="742188"/>
                </a:lnTo>
                <a:lnTo>
                  <a:pt x="203310" y="735743"/>
                </a:lnTo>
                <a:lnTo>
                  <a:pt x="212527" y="742188"/>
                </a:lnTo>
                <a:close/>
              </a:path>
              <a:path w="477520" h="875029">
                <a:moveTo>
                  <a:pt x="347472" y="854964"/>
                </a:moveTo>
                <a:lnTo>
                  <a:pt x="354608" y="841529"/>
                </a:lnTo>
                <a:lnTo>
                  <a:pt x="367284" y="850392"/>
                </a:lnTo>
                <a:lnTo>
                  <a:pt x="347472" y="854964"/>
                </a:lnTo>
                <a:close/>
              </a:path>
            </a:pathLst>
          </a:custGeom>
          <a:solidFill>
            <a:srgbClr val="00678E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title"/>
          </p:nvPr>
        </p:nvSpPr>
        <p:spPr>
          <a:xfrm>
            <a:off x="2878690" y="928625"/>
            <a:ext cx="5849471" cy="405141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>
              <a:spcBef>
                <a:spcPts val="88"/>
              </a:spcBef>
            </a:pPr>
            <a:r>
              <a:rPr spc="141" dirty="0"/>
              <a:t>Typical </a:t>
            </a:r>
            <a:r>
              <a:rPr spc="202" dirty="0"/>
              <a:t>System </a:t>
            </a:r>
            <a:r>
              <a:rPr spc="185" dirty="0"/>
              <a:t>Safety</a:t>
            </a:r>
            <a:r>
              <a:rPr spc="-199" dirty="0"/>
              <a:t> </a:t>
            </a:r>
            <a:r>
              <a:rPr spc="221" dirty="0"/>
              <a:t>Features</a:t>
            </a:r>
          </a:p>
        </p:txBody>
      </p:sp>
      <p:sp>
        <p:nvSpPr>
          <p:cNvPr id="15" name="object 15"/>
          <p:cNvSpPr txBox="1"/>
          <p:nvPr/>
        </p:nvSpPr>
        <p:spPr>
          <a:xfrm>
            <a:off x="7675576" y="5339403"/>
            <a:ext cx="2069726" cy="744401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marR="4483" indent="-1121" algn="ctr" defTabSz="806867">
              <a:spcBef>
                <a:spcPts val="88"/>
              </a:spcBef>
            </a:pPr>
            <a:r>
              <a:rPr sz="1588" spc="159" dirty="0">
                <a:solidFill>
                  <a:prstClr val="black"/>
                </a:solidFill>
                <a:latin typeface="Times New Roman"/>
                <a:cs typeface="Times New Roman"/>
              </a:rPr>
              <a:t>Performance  </a:t>
            </a:r>
            <a:r>
              <a:rPr sz="1588" spc="88" dirty="0">
                <a:solidFill>
                  <a:prstClr val="black"/>
                </a:solidFill>
                <a:latin typeface="Times New Roman"/>
                <a:cs typeface="Times New Roman"/>
              </a:rPr>
              <a:t>Monitoring </a:t>
            </a:r>
            <a:r>
              <a:rPr sz="1588" spc="84" dirty="0">
                <a:solidFill>
                  <a:prstClr val="black"/>
                </a:solidFill>
                <a:latin typeface="Times New Roman"/>
                <a:cs typeface="Times New Roman"/>
              </a:rPr>
              <a:t>SOC,</a:t>
            </a:r>
            <a:r>
              <a:rPr sz="1588" spc="-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8" dirty="0">
                <a:solidFill>
                  <a:prstClr val="black"/>
                </a:solidFill>
                <a:latin typeface="Times New Roman"/>
                <a:cs typeface="Times New Roman"/>
              </a:rPr>
              <a:t>SOH  </a:t>
            </a:r>
            <a:r>
              <a:rPr sz="1588" spc="-159" dirty="0">
                <a:solidFill>
                  <a:prstClr val="black"/>
                </a:solidFill>
                <a:latin typeface="Times New Roman"/>
                <a:cs typeface="Times New Roman"/>
              </a:rPr>
              <a:t>&amp;</a:t>
            </a:r>
            <a:r>
              <a:rPr sz="1588" spc="22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76" dirty="0">
                <a:solidFill>
                  <a:prstClr val="black"/>
                </a:solidFill>
                <a:latin typeface="Times New Roman"/>
                <a:cs typeface="Times New Roman"/>
              </a:rPr>
              <a:t>communication</a:t>
            </a:r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577808" y="3099075"/>
            <a:ext cx="1535206" cy="988763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marR="4483" algn="ctr" defTabSz="806867">
              <a:spcBef>
                <a:spcPts val="88"/>
              </a:spcBef>
            </a:pPr>
            <a:r>
              <a:rPr sz="1588" spc="154" dirty="0">
                <a:solidFill>
                  <a:srgbClr val="FF0000"/>
                </a:solidFill>
                <a:latin typeface="Times New Roman"/>
                <a:cs typeface="Times New Roman"/>
              </a:rPr>
              <a:t>Contactors</a:t>
            </a:r>
            <a:r>
              <a:rPr sz="1588" spc="-57" dirty="0">
                <a:solidFill>
                  <a:srgbClr val="FF0000"/>
                </a:solidFill>
                <a:latin typeface="Times New Roman"/>
                <a:cs typeface="Times New Roman"/>
              </a:rPr>
              <a:t> </a:t>
            </a:r>
            <a:r>
              <a:rPr sz="1588" spc="251" dirty="0">
                <a:solidFill>
                  <a:srgbClr val="FF0000"/>
                </a:solidFill>
                <a:latin typeface="Times New Roman"/>
                <a:cs typeface="Times New Roman"/>
              </a:rPr>
              <a:t>and </a:t>
            </a:r>
            <a:r>
              <a:rPr sz="1588" spc="124" dirty="0">
                <a:solidFill>
                  <a:srgbClr val="FF0000"/>
                </a:solidFill>
                <a:latin typeface="Times New Roman"/>
                <a:cs typeface="Times New Roman"/>
              </a:rPr>
              <a:t> </a:t>
            </a:r>
            <a:r>
              <a:rPr sz="1588" spc="66" dirty="0">
                <a:solidFill>
                  <a:srgbClr val="FF0000"/>
                </a:solidFill>
                <a:latin typeface="Times New Roman"/>
                <a:cs typeface="Times New Roman"/>
              </a:rPr>
              <a:t>Short </a:t>
            </a:r>
            <a:r>
              <a:rPr sz="1588" spc="75" dirty="0">
                <a:solidFill>
                  <a:srgbClr val="FF0000"/>
                </a:solidFill>
                <a:latin typeface="Times New Roman"/>
                <a:cs typeface="Times New Roman"/>
              </a:rPr>
              <a:t>Circuit  </a:t>
            </a:r>
            <a:r>
              <a:rPr sz="1588" spc="119" dirty="0">
                <a:solidFill>
                  <a:srgbClr val="FF0000"/>
                </a:solidFill>
                <a:latin typeface="Times New Roman"/>
                <a:cs typeface="Times New Roman"/>
              </a:rPr>
              <a:t>Protection  </a:t>
            </a:r>
            <a:r>
              <a:rPr sz="1588" spc="101" dirty="0">
                <a:solidFill>
                  <a:srgbClr val="FF0000"/>
                </a:solidFill>
                <a:latin typeface="Times New Roman"/>
                <a:cs typeface="Times New Roman"/>
              </a:rPr>
              <a:t>(fuse)</a:t>
            </a:r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565674" y="5046201"/>
            <a:ext cx="1369919" cy="500039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marR="4483" indent="54912" defTabSz="806867">
              <a:spcBef>
                <a:spcPts val="88"/>
              </a:spcBef>
            </a:pPr>
            <a:r>
              <a:rPr sz="1588" spc="146" dirty="0">
                <a:solidFill>
                  <a:srgbClr val="5691DB"/>
                </a:solidFill>
                <a:latin typeface="Times New Roman"/>
                <a:cs typeface="Times New Roman"/>
              </a:rPr>
              <a:t>Temperature  </a:t>
            </a:r>
            <a:r>
              <a:rPr sz="1588" spc="13" dirty="0">
                <a:solidFill>
                  <a:srgbClr val="5691DB"/>
                </a:solidFill>
                <a:latin typeface="Times New Roman"/>
                <a:cs typeface="Times New Roman"/>
              </a:rPr>
              <a:t>M</a:t>
            </a:r>
            <a:r>
              <a:rPr sz="1588" spc="309" dirty="0">
                <a:solidFill>
                  <a:srgbClr val="5691DB"/>
                </a:solidFill>
                <a:latin typeface="Times New Roman"/>
                <a:cs typeface="Times New Roman"/>
              </a:rPr>
              <a:t>e</a:t>
            </a:r>
            <a:r>
              <a:rPr sz="1588" spc="340" dirty="0">
                <a:solidFill>
                  <a:srgbClr val="5691DB"/>
                </a:solidFill>
                <a:latin typeface="Times New Roman"/>
                <a:cs typeface="Times New Roman"/>
              </a:rPr>
              <a:t>a</a:t>
            </a:r>
            <a:r>
              <a:rPr sz="1588" spc="75" dirty="0">
                <a:solidFill>
                  <a:srgbClr val="5691DB"/>
                </a:solidFill>
                <a:latin typeface="Times New Roman"/>
                <a:cs typeface="Times New Roman"/>
              </a:rPr>
              <a:t>s</a:t>
            </a:r>
            <a:r>
              <a:rPr sz="1588" spc="159" dirty="0">
                <a:solidFill>
                  <a:srgbClr val="5691DB"/>
                </a:solidFill>
                <a:latin typeface="Times New Roman"/>
                <a:cs typeface="Times New Roman"/>
              </a:rPr>
              <a:t>u</a:t>
            </a:r>
            <a:r>
              <a:rPr sz="1588" spc="-26" dirty="0">
                <a:solidFill>
                  <a:srgbClr val="5691DB"/>
                </a:solidFill>
                <a:latin typeface="Times New Roman"/>
                <a:cs typeface="Times New Roman"/>
              </a:rPr>
              <a:t>r</a:t>
            </a:r>
            <a:r>
              <a:rPr sz="1588" spc="309" dirty="0">
                <a:solidFill>
                  <a:srgbClr val="5691DB"/>
                </a:solidFill>
                <a:latin typeface="Times New Roman"/>
                <a:cs typeface="Times New Roman"/>
              </a:rPr>
              <a:t>e</a:t>
            </a:r>
            <a:r>
              <a:rPr sz="1588" spc="256" dirty="0">
                <a:solidFill>
                  <a:srgbClr val="5691DB"/>
                </a:solidFill>
                <a:latin typeface="Times New Roman"/>
                <a:cs typeface="Times New Roman"/>
              </a:rPr>
              <a:t>m</a:t>
            </a:r>
            <a:r>
              <a:rPr sz="1588" spc="309" dirty="0">
                <a:solidFill>
                  <a:srgbClr val="5691DB"/>
                </a:solidFill>
                <a:latin typeface="Times New Roman"/>
                <a:cs typeface="Times New Roman"/>
              </a:rPr>
              <a:t>e</a:t>
            </a:r>
            <a:r>
              <a:rPr sz="1588" spc="159" dirty="0">
                <a:solidFill>
                  <a:srgbClr val="5691DB"/>
                </a:solidFill>
                <a:latin typeface="Times New Roman"/>
                <a:cs typeface="Times New Roman"/>
              </a:rPr>
              <a:t>n</a:t>
            </a:r>
            <a:r>
              <a:rPr sz="1588" spc="31" dirty="0">
                <a:solidFill>
                  <a:srgbClr val="5691DB"/>
                </a:solidFill>
                <a:latin typeface="Times New Roman"/>
                <a:cs typeface="Times New Roman"/>
              </a:rPr>
              <a:t>t</a:t>
            </a:r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334422" y="3397595"/>
            <a:ext cx="1369919" cy="500039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marR="4483" indent="314342" defTabSz="806867">
              <a:spcBef>
                <a:spcPts val="88"/>
              </a:spcBef>
            </a:pPr>
            <a:r>
              <a:rPr sz="1588" spc="110" dirty="0">
                <a:solidFill>
                  <a:srgbClr val="99CC00"/>
                </a:solidFill>
                <a:latin typeface="Times New Roman"/>
                <a:cs typeface="Times New Roman"/>
              </a:rPr>
              <a:t>Current  </a:t>
            </a:r>
            <a:r>
              <a:rPr sz="1588" spc="13" dirty="0">
                <a:solidFill>
                  <a:srgbClr val="99CC00"/>
                </a:solidFill>
                <a:latin typeface="Times New Roman"/>
                <a:cs typeface="Times New Roman"/>
              </a:rPr>
              <a:t>M</a:t>
            </a:r>
            <a:r>
              <a:rPr sz="1588" spc="309" dirty="0">
                <a:solidFill>
                  <a:srgbClr val="99CC00"/>
                </a:solidFill>
                <a:latin typeface="Times New Roman"/>
                <a:cs typeface="Times New Roman"/>
              </a:rPr>
              <a:t>e</a:t>
            </a:r>
            <a:r>
              <a:rPr sz="1588" spc="340" dirty="0">
                <a:solidFill>
                  <a:srgbClr val="99CC00"/>
                </a:solidFill>
                <a:latin typeface="Times New Roman"/>
                <a:cs typeface="Times New Roman"/>
              </a:rPr>
              <a:t>a</a:t>
            </a:r>
            <a:r>
              <a:rPr sz="1588" spc="75" dirty="0">
                <a:solidFill>
                  <a:srgbClr val="99CC00"/>
                </a:solidFill>
                <a:latin typeface="Times New Roman"/>
                <a:cs typeface="Times New Roman"/>
              </a:rPr>
              <a:t>s</a:t>
            </a:r>
            <a:r>
              <a:rPr sz="1588" spc="159" dirty="0">
                <a:solidFill>
                  <a:srgbClr val="99CC00"/>
                </a:solidFill>
                <a:latin typeface="Times New Roman"/>
                <a:cs typeface="Times New Roman"/>
              </a:rPr>
              <a:t>u</a:t>
            </a:r>
            <a:r>
              <a:rPr sz="1588" spc="-26" dirty="0">
                <a:solidFill>
                  <a:srgbClr val="99CC00"/>
                </a:solidFill>
                <a:latin typeface="Times New Roman"/>
                <a:cs typeface="Times New Roman"/>
              </a:rPr>
              <a:t>r</a:t>
            </a:r>
            <a:r>
              <a:rPr sz="1588" spc="309" dirty="0">
                <a:solidFill>
                  <a:srgbClr val="99CC00"/>
                </a:solidFill>
                <a:latin typeface="Times New Roman"/>
                <a:cs typeface="Times New Roman"/>
              </a:rPr>
              <a:t>e</a:t>
            </a:r>
            <a:r>
              <a:rPr sz="1588" spc="256" dirty="0">
                <a:solidFill>
                  <a:srgbClr val="99CC00"/>
                </a:solidFill>
                <a:latin typeface="Times New Roman"/>
                <a:cs typeface="Times New Roman"/>
              </a:rPr>
              <a:t>m</a:t>
            </a:r>
            <a:r>
              <a:rPr sz="1588" spc="309" dirty="0">
                <a:solidFill>
                  <a:srgbClr val="99CC00"/>
                </a:solidFill>
                <a:latin typeface="Times New Roman"/>
                <a:cs typeface="Times New Roman"/>
              </a:rPr>
              <a:t>e</a:t>
            </a:r>
            <a:r>
              <a:rPr sz="1588" spc="159" dirty="0">
                <a:solidFill>
                  <a:srgbClr val="99CC00"/>
                </a:solidFill>
                <a:latin typeface="Times New Roman"/>
                <a:cs typeface="Times New Roman"/>
              </a:rPr>
              <a:t>n</a:t>
            </a:r>
            <a:r>
              <a:rPr sz="1588" spc="31" dirty="0">
                <a:solidFill>
                  <a:srgbClr val="99CC00"/>
                </a:solidFill>
                <a:latin typeface="Times New Roman"/>
                <a:cs typeface="Times New Roman"/>
              </a:rPr>
              <a:t>t</a:t>
            </a:r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5935474" y="1407429"/>
            <a:ext cx="405653" cy="255678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1588" spc="176" dirty="0">
                <a:solidFill>
                  <a:srgbClr val="99CC00"/>
                </a:solidFill>
                <a:latin typeface="Times New Roman"/>
                <a:cs typeface="Times New Roman"/>
              </a:rPr>
              <a:t>C</a:t>
            </a:r>
            <a:r>
              <a:rPr sz="1588" spc="309" dirty="0">
                <a:solidFill>
                  <a:srgbClr val="99CC00"/>
                </a:solidFill>
                <a:latin typeface="Times New Roman"/>
                <a:cs typeface="Times New Roman"/>
              </a:rPr>
              <a:t>e</a:t>
            </a:r>
            <a:r>
              <a:rPr sz="1588" spc="-62" dirty="0">
                <a:solidFill>
                  <a:srgbClr val="99CC00"/>
                </a:solidFill>
                <a:latin typeface="Times New Roman"/>
                <a:cs typeface="Times New Roman"/>
              </a:rPr>
              <a:t>ll</a:t>
            </a:r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5635673" y="1649515"/>
            <a:ext cx="1006849" cy="255678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1588" spc="141" dirty="0">
                <a:solidFill>
                  <a:srgbClr val="99CC00"/>
                </a:solidFill>
                <a:latin typeface="Times New Roman"/>
                <a:cs typeface="Times New Roman"/>
              </a:rPr>
              <a:t>Balancing</a:t>
            </a:r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2981199" y="1681818"/>
            <a:ext cx="1059516" cy="744401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marR="4483" indent="-560" algn="ctr" defTabSz="806867">
              <a:spcBef>
                <a:spcPts val="88"/>
              </a:spcBef>
            </a:pPr>
            <a:r>
              <a:rPr sz="1588" spc="88" dirty="0">
                <a:solidFill>
                  <a:srgbClr val="99CC00"/>
                </a:solidFill>
                <a:latin typeface="Times New Roman"/>
                <a:cs typeface="Times New Roman"/>
              </a:rPr>
              <a:t>Cell  </a:t>
            </a:r>
            <a:r>
              <a:rPr sz="1588" spc="150" dirty="0">
                <a:solidFill>
                  <a:srgbClr val="99CC00"/>
                </a:solidFill>
                <a:latin typeface="Times New Roman"/>
                <a:cs typeface="Times New Roman"/>
              </a:rPr>
              <a:t>Voltage  </a:t>
            </a:r>
            <a:r>
              <a:rPr sz="1588" spc="13" dirty="0">
                <a:solidFill>
                  <a:srgbClr val="99CC00"/>
                </a:solidFill>
                <a:latin typeface="Times New Roman"/>
                <a:cs typeface="Times New Roman"/>
              </a:rPr>
              <a:t>M</a:t>
            </a:r>
            <a:r>
              <a:rPr sz="1588" spc="221" dirty="0">
                <a:solidFill>
                  <a:srgbClr val="99CC00"/>
                </a:solidFill>
                <a:latin typeface="Times New Roman"/>
                <a:cs typeface="Times New Roman"/>
              </a:rPr>
              <a:t>o</a:t>
            </a:r>
            <a:r>
              <a:rPr sz="1588" spc="159" dirty="0">
                <a:solidFill>
                  <a:srgbClr val="99CC00"/>
                </a:solidFill>
                <a:latin typeface="Times New Roman"/>
                <a:cs typeface="Times New Roman"/>
              </a:rPr>
              <a:t>n</a:t>
            </a:r>
            <a:r>
              <a:rPr sz="1588" spc="-62" dirty="0">
                <a:solidFill>
                  <a:srgbClr val="99CC00"/>
                </a:solidFill>
                <a:latin typeface="Times New Roman"/>
                <a:cs typeface="Times New Roman"/>
              </a:rPr>
              <a:t>i</a:t>
            </a:r>
            <a:r>
              <a:rPr sz="1588" spc="31" dirty="0">
                <a:solidFill>
                  <a:srgbClr val="99CC00"/>
                </a:solidFill>
                <a:latin typeface="Times New Roman"/>
                <a:cs typeface="Times New Roman"/>
              </a:rPr>
              <a:t>t</a:t>
            </a:r>
            <a:r>
              <a:rPr sz="1588" spc="221" dirty="0">
                <a:solidFill>
                  <a:srgbClr val="99CC00"/>
                </a:solidFill>
                <a:latin typeface="Times New Roman"/>
                <a:cs typeface="Times New Roman"/>
              </a:rPr>
              <a:t>o</a:t>
            </a:r>
            <a:r>
              <a:rPr sz="1588" spc="-26" dirty="0">
                <a:solidFill>
                  <a:srgbClr val="99CC00"/>
                </a:solidFill>
                <a:latin typeface="Times New Roman"/>
                <a:cs typeface="Times New Roman"/>
              </a:rPr>
              <a:t>r</a:t>
            </a:r>
            <a:r>
              <a:rPr sz="1588" spc="-62" dirty="0">
                <a:solidFill>
                  <a:srgbClr val="99CC00"/>
                </a:solidFill>
                <a:latin typeface="Times New Roman"/>
                <a:cs typeface="Times New Roman"/>
              </a:rPr>
              <a:t>i</a:t>
            </a:r>
            <a:r>
              <a:rPr sz="1588" spc="159" dirty="0">
                <a:solidFill>
                  <a:srgbClr val="99CC00"/>
                </a:solidFill>
                <a:latin typeface="Times New Roman"/>
                <a:cs typeface="Times New Roman"/>
              </a:rPr>
              <a:t>n</a:t>
            </a:r>
            <a:r>
              <a:rPr sz="1588" spc="251" dirty="0">
                <a:solidFill>
                  <a:srgbClr val="99CC00"/>
                </a:solidFill>
                <a:latin typeface="Times New Roman"/>
                <a:cs typeface="Times New Roman"/>
              </a:rPr>
              <a:t>g</a:t>
            </a:r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8232235" y="1396693"/>
            <a:ext cx="1373841" cy="988763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marR="4483" indent="-2241" algn="ctr" defTabSz="806867">
              <a:spcBef>
                <a:spcPts val="88"/>
              </a:spcBef>
            </a:pPr>
            <a:r>
              <a:rPr sz="1588" spc="35" dirty="0">
                <a:solidFill>
                  <a:srgbClr val="FF0000"/>
                </a:solidFill>
                <a:latin typeface="Times New Roman"/>
                <a:cs typeface="Times New Roman"/>
              </a:rPr>
              <a:t>Min </a:t>
            </a:r>
            <a:r>
              <a:rPr sz="1588" spc="251" dirty="0">
                <a:solidFill>
                  <a:srgbClr val="FF0000"/>
                </a:solidFill>
                <a:latin typeface="Times New Roman"/>
                <a:cs typeface="Times New Roman"/>
              </a:rPr>
              <a:t>and </a:t>
            </a:r>
            <a:r>
              <a:rPr sz="1588" spc="150" dirty="0">
                <a:solidFill>
                  <a:srgbClr val="FF0000"/>
                </a:solidFill>
                <a:latin typeface="Times New Roman"/>
                <a:cs typeface="Times New Roman"/>
              </a:rPr>
              <a:t>Max  </a:t>
            </a:r>
            <a:r>
              <a:rPr sz="1588" spc="124" dirty="0">
                <a:solidFill>
                  <a:srgbClr val="FF0000"/>
                </a:solidFill>
                <a:latin typeface="Times New Roman"/>
                <a:cs typeface="Times New Roman"/>
              </a:rPr>
              <a:t>cell</a:t>
            </a:r>
            <a:r>
              <a:rPr sz="1588" spc="18" dirty="0">
                <a:solidFill>
                  <a:srgbClr val="FF0000"/>
                </a:solidFill>
                <a:latin typeface="Times New Roman"/>
                <a:cs typeface="Times New Roman"/>
              </a:rPr>
              <a:t> </a:t>
            </a:r>
            <a:r>
              <a:rPr sz="1588" spc="168" dirty="0">
                <a:solidFill>
                  <a:srgbClr val="FF0000"/>
                </a:solidFill>
                <a:latin typeface="Times New Roman"/>
                <a:cs typeface="Times New Roman"/>
              </a:rPr>
              <a:t>voltage</a:t>
            </a:r>
            <a:r>
              <a:rPr sz="1588" spc="18" dirty="0">
                <a:solidFill>
                  <a:srgbClr val="FF0000"/>
                </a:solidFill>
                <a:latin typeface="Times New Roman"/>
                <a:cs typeface="Times New Roman"/>
              </a:rPr>
              <a:t> </a:t>
            </a:r>
            <a:r>
              <a:rPr sz="1588" spc="-159" dirty="0">
                <a:solidFill>
                  <a:srgbClr val="FF0000"/>
                </a:solidFill>
                <a:latin typeface="Times New Roman"/>
                <a:cs typeface="Times New Roman"/>
              </a:rPr>
              <a:t>&amp; </a:t>
            </a:r>
            <a:r>
              <a:rPr sz="1588" spc="-53" dirty="0">
                <a:solidFill>
                  <a:srgbClr val="FF0000"/>
                </a:solidFill>
                <a:latin typeface="Times New Roman"/>
                <a:cs typeface="Times New Roman"/>
              </a:rPr>
              <a:t> </a:t>
            </a:r>
            <a:r>
              <a:rPr sz="1588" spc="-44" dirty="0">
                <a:solidFill>
                  <a:srgbClr val="FF0000"/>
                </a:solidFill>
                <a:latin typeface="Times New Roman"/>
                <a:cs typeface="Times New Roman"/>
              </a:rPr>
              <a:t>Btr </a:t>
            </a:r>
            <a:r>
              <a:rPr sz="1588" spc="132" dirty="0">
                <a:solidFill>
                  <a:srgbClr val="FF0000"/>
                </a:solidFill>
                <a:latin typeface="Times New Roman"/>
                <a:cs typeface="Times New Roman"/>
              </a:rPr>
              <a:t>current  </a:t>
            </a:r>
            <a:r>
              <a:rPr sz="1588" spc="124" dirty="0">
                <a:solidFill>
                  <a:srgbClr val="FF0000"/>
                </a:solidFill>
                <a:latin typeface="Times New Roman"/>
                <a:cs typeface="Times New Roman"/>
              </a:rPr>
              <a:t>control</a:t>
            </a:r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4564380" y="2142116"/>
            <a:ext cx="3064809" cy="3064809"/>
          </a:xfrm>
          <a:custGeom>
            <a:avLst/>
            <a:gdLst/>
            <a:ahLst/>
            <a:cxnLst/>
            <a:rect l="l" t="t" r="r" b="b"/>
            <a:pathLst>
              <a:path w="3473450" h="3473450">
                <a:moveTo>
                  <a:pt x="1735836" y="3473196"/>
                </a:moveTo>
                <a:lnTo>
                  <a:pt x="1687253" y="3472529"/>
                </a:lnTo>
                <a:lnTo>
                  <a:pt x="1639000" y="3470539"/>
                </a:lnTo>
                <a:lnTo>
                  <a:pt x="1591094" y="3467245"/>
                </a:lnTo>
                <a:lnTo>
                  <a:pt x="1543553" y="3462663"/>
                </a:lnTo>
                <a:lnTo>
                  <a:pt x="1496395" y="3456811"/>
                </a:lnTo>
                <a:lnTo>
                  <a:pt x="1449636" y="3449706"/>
                </a:lnTo>
                <a:lnTo>
                  <a:pt x="1403294" y="3441366"/>
                </a:lnTo>
                <a:lnTo>
                  <a:pt x="1357387" y="3431807"/>
                </a:lnTo>
                <a:lnTo>
                  <a:pt x="1311931" y="3421048"/>
                </a:lnTo>
                <a:lnTo>
                  <a:pt x="1266945" y="3409105"/>
                </a:lnTo>
                <a:lnTo>
                  <a:pt x="1222445" y="3395997"/>
                </a:lnTo>
                <a:lnTo>
                  <a:pt x="1178450" y="3381739"/>
                </a:lnTo>
                <a:lnTo>
                  <a:pt x="1134976" y="3366350"/>
                </a:lnTo>
                <a:lnTo>
                  <a:pt x="1092041" y="3349848"/>
                </a:lnTo>
                <a:lnTo>
                  <a:pt x="1049662" y="3332248"/>
                </a:lnTo>
                <a:lnTo>
                  <a:pt x="1007857" y="3313570"/>
                </a:lnTo>
                <a:lnTo>
                  <a:pt x="966643" y="3293829"/>
                </a:lnTo>
                <a:lnTo>
                  <a:pt x="926037" y="3273044"/>
                </a:lnTo>
                <a:lnTo>
                  <a:pt x="886058" y="3251232"/>
                </a:lnTo>
                <a:lnTo>
                  <a:pt x="846722" y="3228411"/>
                </a:lnTo>
                <a:lnTo>
                  <a:pt x="808046" y="3204596"/>
                </a:lnTo>
                <a:lnTo>
                  <a:pt x="770049" y="3179807"/>
                </a:lnTo>
                <a:lnTo>
                  <a:pt x="732748" y="3154060"/>
                </a:lnTo>
                <a:lnTo>
                  <a:pt x="696159" y="3127373"/>
                </a:lnTo>
                <a:lnTo>
                  <a:pt x="660301" y="3099763"/>
                </a:lnTo>
                <a:lnTo>
                  <a:pt x="625190" y="3071247"/>
                </a:lnTo>
                <a:lnTo>
                  <a:pt x="590845" y="3041843"/>
                </a:lnTo>
                <a:lnTo>
                  <a:pt x="557282" y="3011568"/>
                </a:lnTo>
                <a:lnTo>
                  <a:pt x="524520" y="2980439"/>
                </a:lnTo>
                <a:lnTo>
                  <a:pt x="492575" y="2948475"/>
                </a:lnTo>
                <a:lnTo>
                  <a:pt x="461464" y="2915692"/>
                </a:lnTo>
                <a:lnTo>
                  <a:pt x="431206" y="2882107"/>
                </a:lnTo>
                <a:lnTo>
                  <a:pt x="401818" y="2847738"/>
                </a:lnTo>
                <a:lnTo>
                  <a:pt x="373317" y="2812603"/>
                </a:lnTo>
                <a:lnTo>
                  <a:pt x="345720" y="2776718"/>
                </a:lnTo>
                <a:lnTo>
                  <a:pt x="319045" y="2740101"/>
                </a:lnTo>
                <a:lnTo>
                  <a:pt x="293309" y="2702770"/>
                </a:lnTo>
                <a:lnTo>
                  <a:pt x="268530" y="2664741"/>
                </a:lnTo>
                <a:lnTo>
                  <a:pt x="244725" y="2626033"/>
                </a:lnTo>
                <a:lnTo>
                  <a:pt x="221912" y="2586662"/>
                </a:lnTo>
                <a:lnTo>
                  <a:pt x="200107" y="2546646"/>
                </a:lnTo>
                <a:lnTo>
                  <a:pt x="179329" y="2506002"/>
                </a:lnTo>
                <a:lnTo>
                  <a:pt x="159595" y="2464748"/>
                </a:lnTo>
                <a:lnTo>
                  <a:pt x="140922" y="2422901"/>
                </a:lnTo>
                <a:lnTo>
                  <a:pt x="123327" y="2380478"/>
                </a:lnTo>
                <a:lnTo>
                  <a:pt x="106828" y="2337497"/>
                </a:lnTo>
                <a:lnTo>
                  <a:pt x="91443" y="2293975"/>
                </a:lnTo>
                <a:lnTo>
                  <a:pt x="77189" y="2249929"/>
                </a:lnTo>
                <a:lnTo>
                  <a:pt x="64082" y="2205377"/>
                </a:lnTo>
                <a:lnTo>
                  <a:pt x="52142" y="2160336"/>
                </a:lnTo>
                <a:lnTo>
                  <a:pt x="41384" y="2114824"/>
                </a:lnTo>
                <a:lnTo>
                  <a:pt x="31827" y="2068858"/>
                </a:lnTo>
                <a:lnTo>
                  <a:pt x="23487" y="2022454"/>
                </a:lnTo>
                <a:lnTo>
                  <a:pt x="16383" y="1975632"/>
                </a:lnTo>
                <a:lnTo>
                  <a:pt x="10531" y="1928407"/>
                </a:lnTo>
                <a:lnTo>
                  <a:pt x="5950" y="1880798"/>
                </a:lnTo>
                <a:lnTo>
                  <a:pt x="2656" y="1832821"/>
                </a:lnTo>
                <a:lnTo>
                  <a:pt x="666" y="1784495"/>
                </a:lnTo>
                <a:lnTo>
                  <a:pt x="0" y="1735836"/>
                </a:lnTo>
                <a:lnTo>
                  <a:pt x="666" y="1687253"/>
                </a:lnTo>
                <a:lnTo>
                  <a:pt x="2656" y="1639000"/>
                </a:lnTo>
                <a:lnTo>
                  <a:pt x="5950" y="1591094"/>
                </a:lnTo>
                <a:lnTo>
                  <a:pt x="10531" y="1543553"/>
                </a:lnTo>
                <a:lnTo>
                  <a:pt x="16383" y="1496395"/>
                </a:lnTo>
                <a:lnTo>
                  <a:pt x="23487" y="1449636"/>
                </a:lnTo>
                <a:lnTo>
                  <a:pt x="31827" y="1403294"/>
                </a:lnTo>
                <a:lnTo>
                  <a:pt x="41384" y="1357387"/>
                </a:lnTo>
                <a:lnTo>
                  <a:pt x="52142" y="1311931"/>
                </a:lnTo>
                <a:lnTo>
                  <a:pt x="64082" y="1266945"/>
                </a:lnTo>
                <a:lnTo>
                  <a:pt x="77189" y="1222445"/>
                </a:lnTo>
                <a:lnTo>
                  <a:pt x="91443" y="1178450"/>
                </a:lnTo>
                <a:lnTo>
                  <a:pt x="106828" y="1134976"/>
                </a:lnTo>
                <a:lnTo>
                  <a:pt x="123327" y="1092041"/>
                </a:lnTo>
                <a:lnTo>
                  <a:pt x="140922" y="1049662"/>
                </a:lnTo>
                <a:lnTo>
                  <a:pt x="159595" y="1007857"/>
                </a:lnTo>
                <a:lnTo>
                  <a:pt x="179329" y="966643"/>
                </a:lnTo>
                <a:lnTo>
                  <a:pt x="200107" y="926037"/>
                </a:lnTo>
                <a:lnTo>
                  <a:pt x="221912" y="886058"/>
                </a:lnTo>
                <a:lnTo>
                  <a:pt x="244725" y="846722"/>
                </a:lnTo>
                <a:lnTo>
                  <a:pt x="268530" y="808046"/>
                </a:lnTo>
                <a:lnTo>
                  <a:pt x="293309" y="770049"/>
                </a:lnTo>
                <a:lnTo>
                  <a:pt x="319045" y="732748"/>
                </a:lnTo>
                <a:lnTo>
                  <a:pt x="345720" y="696159"/>
                </a:lnTo>
                <a:lnTo>
                  <a:pt x="373317" y="660301"/>
                </a:lnTo>
                <a:lnTo>
                  <a:pt x="401818" y="625190"/>
                </a:lnTo>
                <a:lnTo>
                  <a:pt x="431206" y="590845"/>
                </a:lnTo>
                <a:lnTo>
                  <a:pt x="461464" y="557282"/>
                </a:lnTo>
                <a:lnTo>
                  <a:pt x="492575" y="524520"/>
                </a:lnTo>
                <a:lnTo>
                  <a:pt x="524520" y="492575"/>
                </a:lnTo>
                <a:lnTo>
                  <a:pt x="557282" y="461464"/>
                </a:lnTo>
                <a:lnTo>
                  <a:pt x="590845" y="431206"/>
                </a:lnTo>
                <a:lnTo>
                  <a:pt x="625190" y="401818"/>
                </a:lnTo>
                <a:lnTo>
                  <a:pt x="660301" y="373317"/>
                </a:lnTo>
                <a:lnTo>
                  <a:pt x="696159" y="345720"/>
                </a:lnTo>
                <a:lnTo>
                  <a:pt x="732748" y="319045"/>
                </a:lnTo>
                <a:lnTo>
                  <a:pt x="770049" y="293309"/>
                </a:lnTo>
                <a:lnTo>
                  <a:pt x="808046" y="268530"/>
                </a:lnTo>
                <a:lnTo>
                  <a:pt x="846722" y="244725"/>
                </a:lnTo>
                <a:lnTo>
                  <a:pt x="886058" y="221912"/>
                </a:lnTo>
                <a:lnTo>
                  <a:pt x="926037" y="200107"/>
                </a:lnTo>
                <a:lnTo>
                  <a:pt x="966643" y="179329"/>
                </a:lnTo>
                <a:lnTo>
                  <a:pt x="1007857" y="159595"/>
                </a:lnTo>
                <a:lnTo>
                  <a:pt x="1049662" y="140922"/>
                </a:lnTo>
                <a:lnTo>
                  <a:pt x="1092041" y="123327"/>
                </a:lnTo>
                <a:lnTo>
                  <a:pt x="1134976" y="106828"/>
                </a:lnTo>
                <a:lnTo>
                  <a:pt x="1178450" y="91443"/>
                </a:lnTo>
                <a:lnTo>
                  <a:pt x="1222445" y="77189"/>
                </a:lnTo>
                <a:lnTo>
                  <a:pt x="1266945" y="64082"/>
                </a:lnTo>
                <a:lnTo>
                  <a:pt x="1311931" y="52142"/>
                </a:lnTo>
                <a:lnTo>
                  <a:pt x="1357387" y="41384"/>
                </a:lnTo>
                <a:lnTo>
                  <a:pt x="1403294" y="31827"/>
                </a:lnTo>
                <a:lnTo>
                  <a:pt x="1449636" y="23487"/>
                </a:lnTo>
                <a:lnTo>
                  <a:pt x="1496395" y="16383"/>
                </a:lnTo>
                <a:lnTo>
                  <a:pt x="1543553" y="10531"/>
                </a:lnTo>
                <a:lnTo>
                  <a:pt x="1591094" y="5950"/>
                </a:lnTo>
                <a:lnTo>
                  <a:pt x="1639000" y="2656"/>
                </a:lnTo>
                <a:lnTo>
                  <a:pt x="1687253" y="666"/>
                </a:lnTo>
                <a:lnTo>
                  <a:pt x="1735836" y="0"/>
                </a:lnTo>
                <a:lnTo>
                  <a:pt x="1784495" y="666"/>
                </a:lnTo>
                <a:lnTo>
                  <a:pt x="1832821" y="2656"/>
                </a:lnTo>
                <a:lnTo>
                  <a:pt x="1880798" y="5950"/>
                </a:lnTo>
                <a:lnTo>
                  <a:pt x="1928407" y="10531"/>
                </a:lnTo>
                <a:lnTo>
                  <a:pt x="1975632" y="16383"/>
                </a:lnTo>
                <a:lnTo>
                  <a:pt x="2022454" y="23487"/>
                </a:lnTo>
                <a:lnTo>
                  <a:pt x="2068858" y="31827"/>
                </a:lnTo>
                <a:lnTo>
                  <a:pt x="2114824" y="41384"/>
                </a:lnTo>
                <a:lnTo>
                  <a:pt x="2160336" y="52142"/>
                </a:lnTo>
                <a:lnTo>
                  <a:pt x="2205377" y="64082"/>
                </a:lnTo>
                <a:lnTo>
                  <a:pt x="2249929" y="77189"/>
                </a:lnTo>
                <a:lnTo>
                  <a:pt x="2293975" y="91443"/>
                </a:lnTo>
                <a:lnTo>
                  <a:pt x="2337497" y="106828"/>
                </a:lnTo>
                <a:lnTo>
                  <a:pt x="2380478" y="123327"/>
                </a:lnTo>
                <a:lnTo>
                  <a:pt x="2422901" y="140922"/>
                </a:lnTo>
                <a:lnTo>
                  <a:pt x="2464748" y="159595"/>
                </a:lnTo>
                <a:lnTo>
                  <a:pt x="2506002" y="179329"/>
                </a:lnTo>
                <a:lnTo>
                  <a:pt x="2546646" y="200107"/>
                </a:lnTo>
                <a:lnTo>
                  <a:pt x="2586662" y="221912"/>
                </a:lnTo>
                <a:lnTo>
                  <a:pt x="2626033" y="244725"/>
                </a:lnTo>
                <a:lnTo>
                  <a:pt x="2664741" y="268530"/>
                </a:lnTo>
                <a:lnTo>
                  <a:pt x="2702770" y="293309"/>
                </a:lnTo>
                <a:lnTo>
                  <a:pt x="2740101" y="319045"/>
                </a:lnTo>
                <a:lnTo>
                  <a:pt x="2776718" y="345720"/>
                </a:lnTo>
                <a:lnTo>
                  <a:pt x="2812603" y="373317"/>
                </a:lnTo>
                <a:lnTo>
                  <a:pt x="2847738" y="401818"/>
                </a:lnTo>
                <a:lnTo>
                  <a:pt x="2882107" y="431206"/>
                </a:lnTo>
                <a:lnTo>
                  <a:pt x="2915692" y="461464"/>
                </a:lnTo>
                <a:lnTo>
                  <a:pt x="2948475" y="492575"/>
                </a:lnTo>
                <a:lnTo>
                  <a:pt x="2980439" y="524520"/>
                </a:lnTo>
                <a:lnTo>
                  <a:pt x="3011568" y="557282"/>
                </a:lnTo>
                <a:lnTo>
                  <a:pt x="3041843" y="590845"/>
                </a:lnTo>
                <a:lnTo>
                  <a:pt x="3071247" y="625190"/>
                </a:lnTo>
                <a:lnTo>
                  <a:pt x="3099763" y="660301"/>
                </a:lnTo>
                <a:lnTo>
                  <a:pt x="3127373" y="696159"/>
                </a:lnTo>
                <a:lnTo>
                  <a:pt x="3154060" y="732748"/>
                </a:lnTo>
                <a:lnTo>
                  <a:pt x="3179807" y="770049"/>
                </a:lnTo>
                <a:lnTo>
                  <a:pt x="3204596" y="808046"/>
                </a:lnTo>
                <a:lnTo>
                  <a:pt x="3228411" y="846722"/>
                </a:lnTo>
                <a:lnTo>
                  <a:pt x="3251232" y="886058"/>
                </a:lnTo>
                <a:lnTo>
                  <a:pt x="3273044" y="926037"/>
                </a:lnTo>
                <a:lnTo>
                  <a:pt x="3293829" y="966643"/>
                </a:lnTo>
                <a:lnTo>
                  <a:pt x="3313570" y="1007857"/>
                </a:lnTo>
                <a:lnTo>
                  <a:pt x="3332248" y="1049662"/>
                </a:lnTo>
                <a:lnTo>
                  <a:pt x="3349848" y="1092041"/>
                </a:lnTo>
                <a:lnTo>
                  <a:pt x="3366350" y="1134976"/>
                </a:lnTo>
                <a:lnTo>
                  <a:pt x="3381739" y="1178450"/>
                </a:lnTo>
                <a:lnTo>
                  <a:pt x="3395997" y="1222445"/>
                </a:lnTo>
                <a:lnTo>
                  <a:pt x="3409105" y="1266945"/>
                </a:lnTo>
                <a:lnTo>
                  <a:pt x="3421048" y="1311931"/>
                </a:lnTo>
                <a:lnTo>
                  <a:pt x="3431807" y="1357387"/>
                </a:lnTo>
                <a:lnTo>
                  <a:pt x="3441366" y="1403294"/>
                </a:lnTo>
                <a:lnTo>
                  <a:pt x="3449706" y="1449636"/>
                </a:lnTo>
                <a:lnTo>
                  <a:pt x="3456811" y="1496395"/>
                </a:lnTo>
                <a:lnTo>
                  <a:pt x="3462663" y="1543553"/>
                </a:lnTo>
                <a:lnTo>
                  <a:pt x="3467245" y="1591094"/>
                </a:lnTo>
                <a:lnTo>
                  <a:pt x="3470539" y="1639000"/>
                </a:lnTo>
                <a:lnTo>
                  <a:pt x="3472529" y="1687253"/>
                </a:lnTo>
                <a:lnTo>
                  <a:pt x="3473196" y="1735836"/>
                </a:lnTo>
                <a:lnTo>
                  <a:pt x="3472529" y="1784495"/>
                </a:lnTo>
                <a:lnTo>
                  <a:pt x="3470539" y="1832821"/>
                </a:lnTo>
                <a:lnTo>
                  <a:pt x="3467245" y="1880798"/>
                </a:lnTo>
                <a:lnTo>
                  <a:pt x="3462663" y="1928407"/>
                </a:lnTo>
                <a:lnTo>
                  <a:pt x="3456811" y="1975632"/>
                </a:lnTo>
                <a:lnTo>
                  <a:pt x="3449706" y="2022454"/>
                </a:lnTo>
                <a:lnTo>
                  <a:pt x="3441366" y="2068858"/>
                </a:lnTo>
                <a:lnTo>
                  <a:pt x="3431807" y="2114824"/>
                </a:lnTo>
                <a:lnTo>
                  <a:pt x="3421048" y="2160336"/>
                </a:lnTo>
                <a:lnTo>
                  <a:pt x="3409105" y="2205377"/>
                </a:lnTo>
                <a:lnTo>
                  <a:pt x="3395997" y="2249929"/>
                </a:lnTo>
                <a:lnTo>
                  <a:pt x="3381739" y="2293975"/>
                </a:lnTo>
                <a:lnTo>
                  <a:pt x="3366350" y="2337497"/>
                </a:lnTo>
                <a:lnTo>
                  <a:pt x="3349848" y="2380478"/>
                </a:lnTo>
                <a:lnTo>
                  <a:pt x="3332248" y="2422901"/>
                </a:lnTo>
                <a:lnTo>
                  <a:pt x="3313570" y="2464748"/>
                </a:lnTo>
                <a:lnTo>
                  <a:pt x="3293829" y="2506002"/>
                </a:lnTo>
                <a:lnTo>
                  <a:pt x="3273044" y="2546646"/>
                </a:lnTo>
                <a:lnTo>
                  <a:pt x="3251232" y="2586662"/>
                </a:lnTo>
                <a:lnTo>
                  <a:pt x="3228411" y="2626033"/>
                </a:lnTo>
                <a:lnTo>
                  <a:pt x="3204596" y="2664741"/>
                </a:lnTo>
                <a:lnTo>
                  <a:pt x="3179807" y="2702770"/>
                </a:lnTo>
                <a:lnTo>
                  <a:pt x="3154060" y="2740101"/>
                </a:lnTo>
                <a:lnTo>
                  <a:pt x="3127373" y="2776718"/>
                </a:lnTo>
                <a:lnTo>
                  <a:pt x="3099763" y="2812603"/>
                </a:lnTo>
                <a:lnTo>
                  <a:pt x="3071247" y="2847738"/>
                </a:lnTo>
                <a:lnTo>
                  <a:pt x="3041843" y="2882107"/>
                </a:lnTo>
                <a:lnTo>
                  <a:pt x="3011568" y="2915692"/>
                </a:lnTo>
                <a:lnTo>
                  <a:pt x="2980439" y="2948475"/>
                </a:lnTo>
                <a:lnTo>
                  <a:pt x="2948475" y="2980439"/>
                </a:lnTo>
                <a:lnTo>
                  <a:pt x="2915692" y="3011568"/>
                </a:lnTo>
                <a:lnTo>
                  <a:pt x="2882107" y="3041843"/>
                </a:lnTo>
                <a:lnTo>
                  <a:pt x="2847738" y="3071247"/>
                </a:lnTo>
                <a:lnTo>
                  <a:pt x="2812603" y="3099763"/>
                </a:lnTo>
                <a:lnTo>
                  <a:pt x="2776718" y="3127373"/>
                </a:lnTo>
                <a:lnTo>
                  <a:pt x="2740101" y="3154060"/>
                </a:lnTo>
                <a:lnTo>
                  <a:pt x="2702770" y="3179807"/>
                </a:lnTo>
                <a:lnTo>
                  <a:pt x="2664741" y="3204596"/>
                </a:lnTo>
                <a:lnTo>
                  <a:pt x="2626033" y="3228411"/>
                </a:lnTo>
                <a:lnTo>
                  <a:pt x="2586662" y="3251232"/>
                </a:lnTo>
                <a:lnTo>
                  <a:pt x="2546646" y="3273044"/>
                </a:lnTo>
                <a:lnTo>
                  <a:pt x="2506002" y="3293829"/>
                </a:lnTo>
                <a:lnTo>
                  <a:pt x="2464748" y="3313570"/>
                </a:lnTo>
                <a:lnTo>
                  <a:pt x="2422901" y="3332248"/>
                </a:lnTo>
                <a:lnTo>
                  <a:pt x="2380478" y="3349848"/>
                </a:lnTo>
                <a:lnTo>
                  <a:pt x="2337497" y="3366350"/>
                </a:lnTo>
                <a:lnTo>
                  <a:pt x="2293975" y="3381739"/>
                </a:lnTo>
                <a:lnTo>
                  <a:pt x="2249929" y="3395997"/>
                </a:lnTo>
                <a:lnTo>
                  <a:pt x="2205377" y="3409105"/>
                </a:lnTo>
                <a:lnTo>
                  <a:pt x="2160336" y="3421048"/>
                </a:lnTo>
                <a:lnTo>
                  <a:pt x="2114824" y="3431807"/>
                </a:lnTo>
                <a:lnTo>
                  <a:pt x="2068858" y="3441366"/>
                </a:lnTo>
                <a:lnTo>
                  <a:pt x="2022454" y="3449706"/>
                </a:lnTo>
                <a:lnTo>
                  <a:pt x="1975632" y="3456811"/>
                </a:lnTo>
                <a:lnTo>
                  <a:pt x="1928407" y="3462663"/>
                </a:lnTo>
                <a:lnTo>
                  <a:pt x="1880798" y="3467245"/>
                </a:lnTo>
                <a:lnTo>
                  <a:pt x="1832821" y="3470539"/>
                </a:lnTo>
                <a:lnTo>
                  <a:pt x="1784495" y="3472529"/>
                </a:lnTo>
                <a:lnTo>
                  <a:pt x="1735836" y="347319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4553623" y="2130014"/>
            <a:ext cx="3086099" cy="3081618"/>
          </a:xfrm>
          <a:custGeom>
            <a:avLst/>
            <a:gdLst/>
            <a:ahLst/>
            <a:cxnLst/>
            <a:rect l="l" t="t" r="r" b="b"/>
            <a:pathLst>
              <a:path w="3497579" h="3492500">
                <a:moveTo>
                  <a:pt x="1839468" y="3492500"/>
                </a:moveTo>
                <a:lnTo>
                  <a:pt x="1659636" y="3492500"/>
                </a:lnTo>
                <a:lnTo>
                  <a:pt x="1312164" y="3441700"/>
                </a:lnTo>
                <a:lnTo>
                  <a:pt x="1228344" y="3416300"/>
                </a:lnTo>
                <a:lnTo>
                  <a:pt x="1147572" y="3390900"/>
                </a:lnTo>
                <a:lnTo>
                  <a:pt x="990600" y="3314700"/>
                </a:lnTo>
                <a:lnTo>
                  <a:pt x="841248" y="3238500"/>
                </a:lnTo>
                <a:lnTo>
                  <a:pt x="771144" y="3200400"/>
                </a:lnTo>
                <a:lnTo>
                  <a:pt x="702564" y="3149600"/>
                </a:lnTo>
                <a:lnTo>
                  <a:pt x="635508" y="3098800"/>
                </a:lnTo>
                <a:lnTo>
                  <a:pt x="573024" y="3035300"/>
                </a:lnTo>
                <a:lnTo>
                  <a:pt x="512064" y="2984500"/>
                </a:lnTo>
                <a:lnTo>
                  <a:pt x="454152" y="2921000"/>
                </a:lnTo>
                <a:lnTo>
                  <a:pt x="399288" y="2857500"/>
                </a:lnTo>
                <a:lnTo>
                  <a:pt x="347472" y="2794000"/>
                </a:lnTo>
                <a:lnTo>
                  <a:pt x="298704" y="2717800"/>
                </a:lnTo>
                <a:lnTo>
                  <a:pt x="252984" y="2654300"/>
                </a:lnTo>
                <a:lnTo>
                  <a:pt x="210312" y="2578100"/>
                </a:lnTo>
                <a:lnTo>
                  <a:pt x="172212" y="2501900"/>
                </a:lnTo>
                <a:lnTo>
                  <a:pt x="137160" y="2425700"/>
                </a:lnTo>
                <a:lnTo>
                  <a:pt x="105156" y="2349500"/>
                </a:lnTo>
                <a:lnTo>
                  <a:pt x="77724" y="2260600"/>
                </a:lnTo>
                <a:lnTo>
                  <a:pt x="54864" y="2184400"/>
                </a:lnTo>
                <a:lnTo>
                  <a:pt x="35052" y="2095500"/>
                </a:lnTo>
                <a:lnTo>
                  <a:pt x="19812" y="2006600"/>
                </a:lnTo>
                <a:lnTo>
                  <a:pt x="7620" y="1917700"/>
                </a:lnTo>
                <a:lnTo>
                  <a:pt x="1524" y="1828800"/>
                </a:lnTo>
                <a:lnTo>
                  <a:pt x="0" y="1739900"/>
                </a:lnTo>
                <a:lnTo>
                  <a:pt x="1524" y="1651000"/>
                </a:lnTo>
                <a:lnTo>
                  <a:pt x="7620" y="1562100"/>
                </a:lnTo>
                <a:lnTo>
                  <a:pt x="19812" y="1473200"/>
                </a:lnTo>
                <a:lnTo>
                  <a:pt x="35052" y="1397000"/>
                </a:lnTo>
                <a:lnTo>
                  <a:pt x="54864" y="1308100"/>
                </a:lnTo>
                <a:lnTo>
                  <a:pt x="77724" y="1219200"/>
                </a:lnTo>
                <a:lnTo>
                  <a:pt x="105156" y="1143000"/>
                </a:lnTo>
                <a:lnTo>
                  <a:pt x="137160" y="1066800"/>
                </a:lnTo>
                <a:lnTo>
                  <a:pt x="172212" y="990600"/>
                </a:lnTo>
                <a:lnTo>
                  <a:pt x="210312" y="914400"/>
                </a:lnTo>
                <a:lnTo>
                  <a:pt x="252984" y="838200"/>
                </a:lnTo>
                <a:lnTo>
                  <a:pt x="297180" y="762000"/>
                </a:lnTo>
                <a:lnTo>
                  <a:pt x="347472" y="698500"/>
                </a:lnTo>
                <a:lnTo>
                  <a:pt x="399288" y="635000"/>
                </a:lnTo>
                <a:lnTo>
                  <a:pt x="454152" y="571500"/>
                </a:lnTo>
                <a:lnTo>
                  <a:pt x="512064" y="508000"/>
                </a:lnTo>
                <a:lnTo>
                  <a:pt x="573024" y="444500"/>
                </a:lnTo>
                <a:lnTo>
                  <a:pt x="635508" y="393700"/>
                </a:lnTo>
                <a:lnTo>
                  <a:pt x="701040" y="342900"/>
                </a:lnTo>
                <a:lnTo>
                  <a:pt x="769620" y="292100"/>
                </a:lnTo>
                <a:lnTo>
                  <a:pt x="841248" y="254000"/>
                </a:lnTo>
                <a:lnTo>
                  <a:pt x="914400" y="203200"/>
                </a:lnTo>
                <a:lnTo>
                  <a:pt x="1068324" y="127000"/>
                </a:lnTo>
                <a:lnTo>
                  <a:pt x="1310640" y="50800"/>
                </a:lnTo>
                <a:lnTo>
                  <a:pt x="1395984" y="25400"/>
                </a:lnTo>
                <a:lnTo>
                  <a:pt x="1569720" y="0"/>
                </a:lnTo>
                <a:lnTo>
                  <a:pt x="1927860" y="0"/>
                </a:lnTo>
                <a:lnTo>
                  <a:pt x="2101596" y="25400"/>
                </a:lnTo>
                <a:lnTo>
                  <a:pt x="1572768" y="25400"/>
                </a:lnTo>
                <a:lnTo>
                  <a:pt x="1402080" y="50800"/>
                </a:lnTo>
                <a:lnTo>
                  <a:pt x="1235964" y="101600"/>
                </a:lnTo>
                <a:lnTo>
                  <a:pt x="1077468" y="152400"/>
                </a:lnTo>
                <a:lnTo>
                  <a:pt x="1001268" y="190500"/>
                </a:lnTo>
                <a:lnTo>
                  <a:pt x="926592" y="228600"/>
                </a:lnTo>
                <a:lnTo>
                  <a:pt x="854964" y="266700"/>
                </a:lnTo>
                <a:lnTo>
                  <a:pt x="784860" y="317500"/>
                </a:lnTo>
                <a:lnTo>
                  <a:pt x="717804" y="368300"/>
                </a:lnTo>
                <a:lnTo>
                  <a:pt x="652272" y="419100"/>
                </a:lnTo>
                <a:lnTo>
                  <a:pt x="589788" y="469900"/>
                </a:lnTo>
                <a:lnTo>
                  <a:pt x="530352" y="520700"/>
                </a:lnTo>
                <a:lnTo>
                  <a:pt x="472440" y="584200"/>
                </a:lnTo>
                <a:lnTo>
                  <a:pt x="419100" y="647700"/>
                </a:lnTo>
                <a:lnTo>
                  <a:pt x="367284" y="711200"/>
                </a:lnTo>
                <a:lnTo>
                  <a:pt x="320040" y="774700"/>
                </a:lnTo>
                <a:lnTo>
                  <a:pt x="274320" y="850900"/>
                </a:lnTo>
                <a:lnTo>
                  <a:pt x="233172" y="927100"/>
                </a:lnTo>
                <a:lnTo>
                  <a:pt x="195072" y="990600"/>
                </a:lnTo>
                <a:lnTo>
                  <a:pt x="160020" y="1066800"/>
                </a:lnTo>
                <a:lnTo>
                  <a:pt x="129540" y="1155700"/>
                </a:lnTo>
                <a:lnTo>
                  <a:pt x="102108" y="1231900"/>
                </a:lnTo>
                <a:lnTo>
                  <a:pt x="79248" y="1308100"/>
                </a:lnTo>
                <a:lnTo>
                  <a:pt x="59436" y="1397000"/>
                </a:lnTo>
                <a:lnTo>
                  <a:pt x="44196" y="1485900"/>
                </a:lnTo>
                <a:lnTo>
                  <a:pt x="33528" y="1562100"/>
                </a:lnTo>
                <a:lnTo>
                  <a:pt x="27432" y="1651000"/>
                </a:lnTo>
                <a:lnTo>
                  <a:pt x="24384" y="1739900"/>
                </a:lnTo>
                <a:lnTo>
                  <a:pt x="27432" y="1828800"/>
                </a:lnTo>
                <a:lnTo>
                  <a:pt x="33528" y="1917700"/>
                </a:lnTo>
                <a:lnTo>
                  <a:pt x="44196" y="2006600"/>
                </a:lnTo>
                <a:lnTo>
                  <a:pt x="59436" y="2095500"/>
                </a:lnTo>
                <a:lnTo>
                  <a:pt x="79248" y="2171700"/>
                </a:lnTo>
                <a:lnTo>
                  <a:pt x="102108" y="2260600"/>
                </a:lnTo>
                <a:lnTo>
                  <a:pt x="129540" y="2336800"/>
                </a:lnTo>
                <a:lnTo>
                  <a:pt x="160020" y="2413000"/>
                </a:lnTo>
                <a:lnTo>
                  <a:pt x="195072" y="2489200"/>
                </a:lnTo>
                <a:lnTo>
                  <a:pt x="233172" y="2565400"/>
                </a:lnTo>
                <a:lnTo>
                  <a:pt x="274320" y="2641600"/>
                </a:lnTo>
                <a:lnTo>
                  <a:pt x="318516" y="2705100"/>
                </a:lnTo>
                <a:lnTo>
                  <a:pt x="367284" y="2781300"/>
                </a:lnTo>
                <a:lnTo>
                  <a:pt x="417576" y="2844800"/>
                </a:lnTo>
                <a:lnTo>
                  <a:pt x="472440" y="2908300"/>
                </a:lnTo>
                <a:lnTo>
                  <a:pt x="528828" y="2959100"/>
                </a:lnTo>
                <a:lnTo>
                  <a:pt x="589788" y="3022600"/>
                </a:lnTo>
                <a:lnTo>
                  <a:pt x="652272" y="3073400"/>
                </a:lnTo>
                <a:lnTo>
                  <a:pt x="716280" y="3124200"/>
                </a:lnTo>
                <a:lnTo>
                  <a:pt x="784860" y="3175000"/>
                </a:lnTo>
                <a:lnTo>
                  <a:pt x="854964" y="3213100"/>
                </a:lnTo>
                <a:lnTo>
                  <a:pt x="926592" y="3263900"/>
                </a:lnTo>
                <a:lnTo>
                  <a:pt x="1001268" y="3302000"/>
                </a:lnTo>
                <a:lnTo>
                  <a:pt x="1077468" y="3327400"/>
                </a:lnTo>
                <a:lnTo>
                  <a:pt x="1155192" y="3365500"/>
                </a:lnTo>
                <a:lnTo>
                  <a:pt x="1318260" y="3416300"/>
                </a:lnTo>
                <a:lnTo>
                  <a:pt x="1659636" y="3467100"/>
                </a:lnTo>
                <a:lnTo>
                  <a:pt x="2016252" y="3467100"/>
                </a:lnTo>
                <a:lnTo>
                  <a:pt x="1839468" y="3492500"/>
                </a:lnTo>
                <a:close/>
              </a:path>
              <a:path w="3497579" h="3492500">
                <a:moveTo>
                  <a:pt x="2016252" y="3467100"/>
                </a:moveTo>
                <a:lnTo>
                  <a:pt x="1837944" y="3467100"/>
                </a:lnTo>
                <a:lnTo>
                  <a:pt x="2179320" y="3416300"/>
                </a:lnTo>
                <a:lnTo>
                  <a:pt x="2261616" y="3390900"/>
                </a:lnTo>
                <a:lnTo>
                  <a:pt x="2340864" y="3365500"/>
                </a:lnTo>
                <a:lnTo>
                  <a:pt x="2420112" y="3327400"/>
                </a:lnTo>
                <a:lnTo>
                  <a:pt x="2496312" y="3302000"/>
                </a:lnTo>
                <a:lnTo>
                  <a:pt x="2570988" y="3263900"/>
                </a:lnTo>
                <a:lnTo>
                  <a:pt x="2642616" y="3213100"/>
                </a:lnTo>
                <a:lnTo>
                  <a:pt x="2712720" y="3175000"/>
                </a:lnTo>
                <a:lnTo>
                  <a:pt x="2779776" y="3124200"/>
                </a:lnTo>
                <a:lnTo>
                  <a:pt x="2845308" y="3073400"/>
                </a:lnTo>
                <a:lnTo>
                  <a:pt x="2907792" y="3022600"/>
                </a:lnTo>
                <a:lnTo>
                  <a:pt x="2967228" y="2959100"/>
                </a:lnTo>
                <a:lnTo>
                  <a:pt x="3025140" y="2908300"/>
                </a:lnTo>
                <a:lnTo>
                  <a:pt x="3078480" y="2844800"/>
                </a:lnTo>
                <a:lnTo>
                  <a:pt x="3130296" y="2781300"/>
                </a:lnTo>
                <a:lnTo>
                  <a:pt x="3177540" y="2705100"/>
                </a:lnTo>
                <a:lnTo>
                  <a:pt x="3223260" y="2641600"/>
                </a:lnTo>
                <a:lnTo>
                  <a:pt x="3264408" y="2565400"/>
                </a:lnTo>
                <a:lnTo>
                  <a:pt x="3302508" y="2489200"/>
                </a:lnTo>
                <a:lnTo>
                  <a:pt x="3337560" y="2413000"/>
                </a:lnTo>
                <a:lnTo>
                  <a:pt x="3368040" y="2336800"/>
                </a:lnTo>
                <a:lnTo>
                  <a:pt x="3395472" y="2260600"/>
                </a:lnTo>
                <a:lnTo>
                  <a:pt x="3418332" y="2171700"/>
                </a:lnTo>
                <a:lnTo>
                  <a:pt x="3438144" y="2095500"/>
                </a:lnTo>
                <a:lnTo>
                  <a:pt x="3453384" y="2006600"/>
                </a:lnTo>
                <a:lnTo>
                  <a:pt x="3464052" y="1917700"/>
                </a:lnTo>
                <a:lnTo>
                  <a:pt x="3470148" y="1828800"/>
                </a:lnTo>
                <a:lnTo>
                  <a:pt x="3473196" y="1739900"/>
                </a:lnTo>
                <a:lnTo>
                  <a:pt x="3470148" y="1651000"/>
                </a:lnTo>
                <a:lnTo>
                  <a:pt x="3464052" y="1562100"/>
                </a:lnTo>
                <a:lnTo>
                  <a:pt x="3453384" y="1485900"/>
                </a:lnTo>
                <a:lnTo>
                  <a:pt x="3438144" y="1397000"/>
                </a:lnTo>
                <a:lnTo>
                  <a:pt x="3418332" y="1308100"/>
                </a:lnTo>
                <a:lnTo>
                  <a:pt x="3395472" y="1231900"/>
                </a:lnTo>
                <a:lnTo>
                  <a:pt x="3368040" y="1155700"/>
                </a:lnTo>
                <a:lnTo>
                  <a:pt x="3337560" y="1066800"/>
                </a:lnTo>
                <a:lnTo>
                  <a:pt x="3302508" y="990600"/>
                </a:lnTo>
                <a:lnTo>
                  <a:pt x="3264408" y="927100"/>
                </a:lnTo>
                <a:lnTo>
                  <a:pt x="3223260" y="850900"/>
                </a:lnTo>
                <a:lnTo>
                  <a:pt x="3179064" y="774700"/>
                </a:lnTo>
                <a:lnTo>
                  <a:pt x="3130296" y="711200"/>
                </a:lnTo>
                <a:lnTo>
                  <a:pt x="3080004" y="647700"/>
                </a:lnTo>
                <a:lnTo>
                  <a:pt x="3025140" y="584200"/>
                </a:lnTo>
                <a:lnTo>
                  <a:pt x="2968752" y="520700"/>
                </a:lnTo>
                <a:lnTo>
                  <a:pt x="2907792" y="469900"/>
                </a:lnTo>
                <a:lnTo>
                  <a:pt x="2845308" y="419100"/>
                </a:lnTo>
                <a:lnTo>
                  <a:pt x="2779776" y="368300"/>
                </a:lnTo>
                <a:lnTo>
                  <a:pt x="2712720" y="317500"/>
                </a:lnTo>
                <a:lnTo>
                  <a:pt x="2642616" y="266700"/>
                </a:lnTo>
                <a:lnTo>
                  <a:pt x="2570988" y="228600"/>
                </a:lnTo>
                <a:lnTo>
                  <a:pt x="2496312" y="190500"/>
                </a:lnTo>
                <a:lnTo>
                  <a:pt x="2420112" y="152400"/>
                </a:lnTo>
                <a:lnTo>
                  <a:pt x="2342388" y="127000"/>
                </a:lnTo>
                <a:lnTo>
                  <a:pt x="2097024" y="50800"/>
                </a:lnTo>
                <a:lnTo>
                  <a:pt x="1924812" y="25400"/>
                </a:lnTo>
                <a:lnTo>
                  <a:pt x="2101596" y="25400"/>
                </a:lnTo>
                <a:lnTo>
                  <a:pt x="2269236" y="76200"/>
                </a:lnTo>
                <a:lnTo>
                  <a:pt x="2429256" y="127000"/>
                </a:lnTo>
                <a:lnTo>
                  <a:pt x="2583180" y="203200"/>
                </a:lnTo>
                <a:lnTo>
                  <a:pt x="2656332" y="241300"/>
                </a:lnTo>
                <a:lnTo>
                  <a:pt x="2726436" y="292100"/>
                </a:lnTo>
                <a:lnTo>
                  <a:pt x="2795016" y="342900"/>
                </a:lnTo>
                <a:lnTo>
                  <a:pt x="2862072" y="393700"/>
                </a:lnTo>
                <a:lnTo>
                  <a:pt x="2924556" y="444500"/>
                </a:lnTo>
                <a:lnTo>
                  <a:pt x="2985516" y="508000"/>
                </a:lnTo>
                <a:lnTo>
                  <a:pt x="3043428" y="571500"/>
                </a:lnTo>
                <a:lnTo>
                  <a:pt x="3098292" y="635000"/>
                </a:lnTo>
                <a:lnTo>
                  <a:pt x="3150108" y="698500"/>
                </a:lnTo>
                <a:lnTo>
                  <a:pt x="3198876" y="762000"/>
                </a:lnTo>
                <a:lnTo>
                  <a:pt x="3244596" y="838200"/>
                </a:lnTo>
                <a:lnTo>
                  <a:pt x="3287268" y="914400"/>
                </a:lnTo>
                <a:lnTo>
                  <a:pt x="3325368" y="990600"/>
                </a:lnTo>
                <a:lnTo>
                  <a:pt x="3360420" y="1066800"/>
                </a:lnTo>
                <a:lnTo>
                  <a:pt x="3392424" y="1143000"/>
                </a:lnTo>
                <a:lnTo>
                  <a:pt x="3419856" y="1219200"/>
                </a:lnTo>
                <a:lnTo>
                  <a:pt x="3442716" y="1308100"/>
                </a:lnTo>
                <a:lnTo>
                  <a:pt x="3462528" y="1397000"/>
                </a:lnTo>
                <a:lnTo>
                  <a:pt x="3477768" y="1473200"/>
                </a:lnTo>
                <a:lnTo>
                  <a:pt x="3488436" y="1562100"/>
                </a:lnTo>
                <a:lnTo>
                  <a:pt x="3496056" y="1651000"/>
                </a:lnTo>
                <a:lnTo>
                  <a:pt x="3497580" y="1739900"/>
                </a:lnTo>
                <a:lnTo>
                  <a:pt x="3496056" y="1828800"/>
                </a:lnTo>
                <a:lnTo>
                  <a:pt x="3489960" y="1917700"/>
                </a:lnTo>
                <a:lnTo>
                  <a:pt x="3477768" y="2006600"/>
                </a:lnTo>
                <a:lnTo>
                  <a:pt x="3462528" y="2095500"/>
                </a:lnTo>
                <a:lnTo>
                  <a:pt x="3442716" y="2184400"/>
                </a:lnTo>
                <a:lnTo>
                  <a:pt x="3419856" y="2260600"/>
                </a:lnTo>
                <a:lnTo>
                  <a:pt x="3392424" y="2349500"/>
                </a:lnTo>
                <a:lnTo>
                  <a:pt x="3360420" y="2425700"/>
                </a:lnTo>
                <a:lnTo>
                  <a:pt x="3325368" y="2501900"/>
                </a:lnTo>
                <a:lnTo>
                  <a:pt x="3287268" y="2578100"/>
                </a:lnTo>
                <a:lnTo>
                  <a:pt x="3244596" y="2654300"/>
                </a:lnTo>
                <a:lnTo>
                  <a:pt x="3198876" y="2717800"/>
                </a:lnTo>
                <a:lnTo>
                  <a:pt x="3150108" y="2794000"/>
                </a:lnTo>
                <a:lnTo>
                  <a:pt x="3098292" y="2857500"/>
                </a:lnTo>
                <a:lnTo>
                  <a:pt x="3043428" y="2921000"/>
                </a:lnTo>
                <a:lnTo>
                  <a:pt x="2985516" y="2984500"/>
                </a:lnTo>
                <a:lnTo>
                  <a:pt x="2926080" y="3035300"/>
                </a:lnTo>
                <a:lnTo>
                  <a:pt x="2862072" y="3098800"/>
                </a:lnTo>
                <a:lnTo>
                  <a:pt x="2795016" y="3149600"/>
                </a:lnTo>
                <a:lnTo>
                  <a:pt x="2726436" y="3200400"/>
                </a:lnTo>
                <a:lnTo>
                  <a:pt x="2656332" y="3238500"/>
                </a:lnTo>
                <a:lnTo>
                  <a:pt x="2583180" y="3276600"/>
                </a:lnTo>
                <a:lnTo>
                  <a:pt x="2430780" y="3352800"/>
                </a:lnTo>
                <a:lnTo>
                  <a:pt x="2350008" y="3390900"/>
                </a:lnTo>
                <a:lnTo>
                  <a:pt x="2186940" y="3441700"/>
                </a:lnTo>
                <a:lnTo>
                  <a:pt x="2016252" y="3467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4078941" y="4617719"/>
            <a:ext cx="821951" cy="495300"/>
          </a:xfrm>
          <a:custGeom>
            <a:avLst/>
            <a:gdLst/>
            <a:ahLst/>
            <a:cxnLst/>
            <a:rect l="l" t="t" r="r" b="b"/>
            <a:pathLst>
              <a:path w="931545" h="561339">
                <a:moveTo>
                  <a:pt x="116210" y="507020"/>
                </a:moveTo>
                <a:lnTo>
                  <a:pt x="103687" y="485849"/>
                </a:lnTo>
                <a:lnTo>
                  <a:pt x="917448" y="0"/>
                </a:lnTo>
                <a:lnTo>
                  <a:pt x="931164" y="22860"/>
                </a:lnTo>
                <a:lnTo>
                  <a:pt x="116210" y="507020"/>
                </a:lnTo>
                <a:close/>
              </a:path>
              <a:path w="931545" h="561339">
                <a:moveTo>
                  <a:pt x="0" y="560832"/>
                </a:moveTo>
                <a:lnTo>
                  <a:pt x="77724" y="441960"/>
                </a:lnTo>
                <a:lnTo>
                  <a:pt x="103687" y="485849"/>
                </a:lnTo>
                <a:lnTo>
                  <a:pt x="92964" y="492252"/>
                </a:lnTo>
                <a:lnTo>
                  <a:pt x="105156" y="513588"/>
                </a:lnTo>
                <a:lnTo>
                  <a:pt x="120095" y="513588"/>
                </a:lnTo>
                <a:lnTo>
                  <a:pt x="141732" y="550164"/>
                </a:lnTo>
                <a:lnTo>
                  <a:pt x="0" y="560832"/>
                </a:lnTo>
                <a:close/>
              </a:path>
              <a:path w="931545" h="561339">
                <a:moveTo>
                  <a:pt x="105156" y="513588"/>
                </a:moveTo>
                <a:lnTo>
                  <a:pt x="92964" y="492252"/>
                </a:lnTo>
                <a:lnTo>
                  <a:pt x="103687" y="485849"/>
                </a:lnTo>
                <a:lnTo>
                  <a:pt x="116210" y="507020"/>
                </a:lnTo>
                <a:lnTo>
                  <a:pt x="105156" y="513588"/>
                </a:lnTo>
                <a:close/>
              </a:path>
              <a:path w="931545" h="561339">
                <a:moveTo>
                  <a:pt x="120095" y="513588"/>
                </a:moveTo>
                <a:lnTo>
                  <a:pt x="105156" y="513588"/>
                </a:lnTo>
                <a:lnTo>
                  <a:pt x="116210" y="507020"/>
                </a:lnTo>
                <a:lnTo>
                  <a:pt x="120095" y="51358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3963296" y="3602467"/>
            <a:ext cx="598394" cy="112059"/>
          </a:xfrm>
          <a:custGeom>
            <a:avLst/>
            <a:gdLst/>
            <a:ahLst/>
            <a:cxnLst/>
            <a:rect l="l" t="t" r="r" b="b"/>
            <a:pathLst>
              <a:path w="678179" h="127000">
                <a:moveTo>
                  <a:pt x="126492" y="126492"/>
                </a:moveTo>
                <a:lnTo>
                  <a:pt x="0" y="64008"/>
                </a:lnTo>
                <a:lnTo>
                  <a:pt x="126492" y="0"/>
                </a:lnTo>
                <a:lnTo>
                  <a:pt x="126492" y="50259"/>
                </a:lnTo>
                <a:lnTo>
                  <a:pt x="114300" y="50292"/>
                </a:lnTo>
                <a:lnTo>
                  <a:pt x="114300" y="76200"/>
                </a:lnTo>
                <a:lnTo>
                  <a:pt x="126492" y="76200"/>
                </a:lnTo>
                <a:lnTo>
                  <a:pt x="126492" y="126492"/>
                </a:lnTo>
                <a:close/>
              </a:path>
              <a:path w="678179" h="127000">
                <a:moveTo>
                  <a:pt x="126492" y="76167"/>
                </a:moveTo>
                <a:lnTo>
                  <a:pt x="126492" y="50259"/>
                </a:lnTo>
                <a:lnTo>
                  <a:pt x="678180" y="48768"/>
                </a:lnTo>
                <a:lnTo>
                  <a:pt x="678180" y="74676"/>
                </a:lnTo>
                <a:lnTo>
                  <a:pt x="126492" y="76167"/>
                </a:lnTo>
                <a:close/>
              </a:path>
              <a:path w="678179" h="127000">
                <a:moveTo>
                  <a:pt x="114300" y="76200"/>
                </a:moveTo>
                <a:lnTo>
                  <a:pt x="114300" y="50292"/>
                </a:lnTo>
                <a:lnTo>
                  <a:pt x="126492" y="50259"/>
                </a:lnTo>
                <a:lnTo>
                  <a:pt x="126492" y="76167"/>
                </a:lnTo>
                <a:lnTo>
                  <a:pt x="114300" y="76200"/>
                </a:lnTo>
                <a:close/>
              </a:path>
              <a:path w="678179" h="127000">
                <a:moveTo>
                  <a:pt x="126492" y="76200"/>
                </a:moveTo>
                <a:lnTo>
                  <a:pt x="114300" y="76200"/>
                </a:lnTo>
                <a:lnTo>
                  <a:pt x="126492" y="761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3984811" y="2139426"/>
            <a:ext cx="927847" cy="563656"/>
          </a:xfrm>
          <a:custGeom>
            <a:avLst/>
            <a:gdLst/>
            <a:ahLst/>
            <a:cxnLst/>
            <a:rect l="l" t="t" r="r" b="b"/>
            <a:pathLst>
              <a:path w="1051560" h="638810">
                <a:moveTo>
                  <a:pt x="76200" y="118872"/>
                </a:moveTo>
                <a:lnTo>
                  <a:pt x="0" y="0"/>
                </a:lnTo>
                <a:lnTo>
                  <a:pt x="141732" y="10668"/>
                </a:lnTo>
                <a:lnTo>
                  <a:pt x="119580" y="47244"/>
                </a:lnTo>
                <a:lnTo>
                  <a:pt x="103632" y="47244"/>
                </a:lnTo>
                <a:lnTo>
                  <a:pt x="91440" y="68580"/>
                </a:lnTo>
                <a:lnTo>
                  <a:pt x="102595" y="75287"/>
                </a:lnTo>
                <a:lnTo>
                  <a:pt x="76200" y="118872"/>
                </a:lnTo>
                <a:close/>
              </a:path>
              <a:path w="1051560" h="638810">
                <a:moveTo>
                  <a:pt x="102595" y="75287"/>
                </a:moveTo>
                <a:lnTo>
                  <a:pt x="91440" y="68580"/>
                </a:lnTo>
                <a:lnTo>
                  <a:pt x="103632" y="47244"/>
                </a:lnTo>
                <a:lnTo>
                  <a:pt x="115322" y="54273"/>
                </a:lnTo>
                <a:lnTo>
                  <a:pt x="102595" y="75287"/>
                </a:lnTo>
                <a:close/>
              </a:path>
              <a:path w="1051560" h="638810">
                <a:moveTo>
                  <a:pt x="115322" y="54273"/>
                </a:moveTo>
                <a:lnTo>
                  <a:pt x="103632" y="47244"/>
                </a:lnTo>
                <a:lnTo>
                  <a:pt x="119580" y="47244"/>
                </a:lnTo>
                <a:lnTo>
                  <a:pt x="115322" y="54273"/>
                </a:lnTo>
                <a:close/>
              </a:path>
              <a:path w="1051560" h="638810">
                <a:moveTo>
                  <a:pt x="1039368" y="638556"/>
                </a:moveTo>
                <a:lnTo>
                  <a:pt x="102595" y="75287"/>
                </a:lnTo>
                <a:lnTo>
                  <a:pt x="115322" y="54273"/>
                </a:lnTo>
                <a:lnTo>
                  <a:pt x="1051560" y="617220"/>
                </a:lnTo>
                <a:lnTo>
                  <a:pt x="1039368" y="63855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6081207" y="1886622"/>
            <a:ext cx="112059" cy="248771"/>
          </a:xfrm>
          <a:custGeom>
            <a:avLst/>
            <a:gdLst/>
            <a:ahLst/>
            <a:cxnLst/>
            <a:rect l="l" t="t" r="r" b="b"/>
            <a:pathLst>
              <a:path w="127000" h="281939">
                <a:moveTo>
                  <a:pt x="0" y="128016"/>
                </a:moveTo>
                <a:lnTo>
                  <a:pt x="62484" y="0"/>
                </a:lnTo>
                <a:lnTo>
                  <a:pt x="120322" y="114300"/>
                </a:lnTo>
                <a:lnTo>
                  <a:pt x="50292" y="114300"/>
                </a:lnTo>
                <a:lnTo>
                  <a:pt x="50411" y="127408"/>
                </a:lnTo>
                <a:lnTo>
                  <a:pt x="0" y="128016"/>
                </a:lnTo>
                <a:close/>
              </a:path>
              <a:path w="127000" h="281939">
                <a:moveTo>
                  <a:pt x="50411" y="127408"/>
                </a:moveTo>
                <a:lnTo>
                  <a:pt x="50292" y="114300"/>
                </a:lnTo>
                <a:lnTo>
                  <a:pt x="76200" y="114300"/>
                </a:lnTo>
                <a:lnTo>
                  <a:pt x="76317" y="127096"/>
                </a:lnTo>
                <a:lnTo>
                  <a:pt x="50411" y="127408"/>
                </a:lnTo>
                <a:close/>
              </a:path>
              <a:path w="127000" h="281939">
                <a:moveTo>
                  <a:pt x="76317" y="127096"/>
                </a:moveTo>
                <a:lnTo>
                  <a:pt x="76200" y="114300"/>
                </a:lnTo>
                <a:lnTo>
                  <a:pt x="120322" y="114300"/>
                </a:lnTo>
                <a:lnTo>
                  <a:pt x="126492" y="126492"/>
                </a:lnTo>
                <a:lnTo>
                  <a:pt x="76317" y="127096"/>
                </a:lnTo>
                <a:close/>
              </a:path>
              <a:path w="127000" h="281939">
                <a:moveTo>
                  <a:pt x="51816" y="281940"/>
                </a:moveTo>
                <a:lnTo>
                  <a:pt x="50411" y="127408"/>
                </a:lnTo>
                <a:lnTo>
                  <a:pt x="76317" y="127096"/>
                </a:lnTo>
                <a:lnTo>
                  <a:pt x="77724" y="280416"/>
                </a:lnTo>
                <a:lnTo>
                  <a:pt x="51816" y="2819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6046245" y="5198633"/>
            <a:ext cx="113179" cy="453278"/>
          </a:xfrm>
          <a:custGeom>
            <a:avLst/>
            <a:gdLst/>
            <a:ahLst/>
            <a:cxnLst/>
            <a:rect l="l" t="t" r="r" b="b"/>
            <a:pathLst>
              <a:path w="128270" h="513714">
                <a:moveTo>
                  <a:pt x="76297" y="386480"/>
                </a:moveTo>
                <a:lnTo>
                  <a:pt x="51865" y="386189"/>
                </a:lnTo>
                <a:lnTo>
                  <a:pt x="53340" y="0"/>
                </a:lnTo>
                <a:lnTo>
                  <a:pt x="79248" y="0"/>
                </a:lnTo>
                <a:lnTo>
                  <a:pt x="76297" y="386480"/>
                </a:lnTo>
                <a:close/>
              </a:path>
              <a:path w="128270" h="513714">
                <a:moveTo>
                  <a:pt x="64008" y="513588"/>
                </a:moveTo>
                <a:lnTo>
                  <a:pt x="0" y="385572"/>
                </a:lnTo>
                <a:lnTo>
                  <a:pt x="51865" y="386189"/>
                </a:lnTo>
                <a:lnTo>
                  <a:pt x="51816" y="399288"/>
                </a:lnTo>
                <a:lnTo>
                  <a:pt x="121846" y="399288"/>
                </a:lnTo>
                <a:lnTo>
                  <a:pt x="64008" y="513588"/>
                </a:lnTo>
                <a:close/>
              </a:path>
              <a:path w="128270" h="513714">
                <a:moveTo>
                  <a:pt x="76200" y="399288"/>
                </a:moveTo>
                <a:lnTo>
                  <a:pt x="51816" y="399288"/>
                </a:lnTo>
                <a:lnTo>
                  <a:pt x="51865" y="386189"/>
                </a:lnTo>
                <a:lnTo>
                  <a:pt x="76297" y="386480"/>
                </a:lnTo>
                <a:lnTo>
                  <a:pt x="76200" y="399288"/>
                </a:lnTo>
                <a:close/>
              </a:path>
              <a:path w="128270" h="513714">
                <a:moveTo>
                  <a:pt x="121846" y="399288"/>
                </a:moveTo>
                <a:lnTo>
                  <a:pt x="76200" y="399288"/>
                </a:lnTo>
                <a:lnTo>
                  <a:pt x="76297" y="386480"/>
                </a:lnTo>
                <a:lnTo>
                  <a:pt x="128016" y="387096"/>
                </a:lnTo>
                <a:lnTo>
                  <a:pt x="121846" y="39928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7349265" y="2214730"/>
            <a:ext cx="1011331" cy="613522"/>
          </a:xfrm>
          <a:custGeom>
            <a:avLst/>
            <a:gdLst/>
            <a:ahLst/>
            <a:cxnLst/>
            <a:rect l="l" t="t" r="r" b="b"/>
            <a:pathLst>
              <a:path w="1146175" h="695325">
                <a:moveTo>
                  <a:pt x="1030320" y="53605"/>
                </a:moveTo>
                <a:lnTo>
                  <a:pt x="1004316" y="10668"/>
                </a:lnTo>
                <a:lnTo>
                  <a:pt x="1146048" y="0"/>
                </a:lnTo>
                <a:lnTo>
                  <a:pt x="1115763" y="47244"/>
                </a:lnTo>
                <a:lnTo>
                  <a:pt x="1040892" y="47244"/>
                </a:lnTo>
                <a:lnTo>
                  <a:pt x="1030320" y="53605"/>
                </a:lnTo>
                <a:close/>
              </a:path>
              <a:path w="1146175" h="695325">
                <a:moveTo>
                  <a:pt x="1044119" y="76390"/>
                </a:moveTo>
                <a:lnTo>
                  <a:pt x="1030320" y="53605"/>
                </a:lnTo>
                <a:lnTo>
                  <a:pt x="1040892" y="47244"/>
                </a:lnTo>
                <a:lnTo>
                  <a:pt x="1054608" y="70104"/>
                </a:lnTo>
                <a:lnTo>
                  <a:pt x="1044119" y="76390"/>
                </a:lnTo>
                <a:close/>
              </a:path>
              <a:path w="1146175" h="695325">
                <a:moveTo>
                  <a:pt x="1069848" y="118872"/>
                </a:moveTo>
                <a:lnTo>
                  <a:pt x="1044119" y="76390"/>
                </a:lnTo>
                <a:lnTo>
                  <a:pt x="1054608" y="70104"/>
                </a:lnTo>
                <a:lnTo>
                  <a:pt x="1040892" y="47244"/>
                </a:lnTo>
                <a:lnTo>
                  <a:pt x="1115763" y="47244"/>
                </a:lnTo>
                <a:lnTo>
                  <a:pt x="1069848" y="118872"/>
                </a:lnTo>
                <a:close/>
              </a:path>
              <a:path w="1146175" h="695325">
                <a:moveTo>
                  <a:pt x="12192" y="694944"/>
                </a:moveTo>
                <a:lnTo>
                  <a:pt x="0" y="673608"/>
                </a:lnTo>
                <a:lnTo>
                  <a:pt x="1030320" y="53605"/>
                </a:lnTo>
                <a:lnTo>
                  <a:pt x="1044119" y="76390"/>
                </a:lnTo>
                <a:lnTo>
                  <a:pt x="12192" y="69494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7634344" y="3681804"/>
            <a:ext cx="941294" cy="112059"/>
          </a:xfrm>
          <a:custGeom>
            <a:avLst/>
            <a:gdLst/>
            <a:ahLst/>
            <a:cxnLst/>
            <a:rect l="l" t="t" r="r" b="b"/>
            <a:pathLst>
              <a:path w="1066800" h="127000">
                <a:moveTo>
                  <a:pt x="940308" y="50389"/>
                </a:moveTo>
                <a:lnTo>
                  <a:pt x="940308" y="0"/>
                </a:lnTo>
                <a:lnTo>
                  <a:pt x="1042118" y="50292"/>
                </a:lnTo>
                <a:lnTo>
                  <a:pt x="952500" y="50292"/>
                </a:lnTo>
                <a:lnTo>
                  <a:pt x="940308" y="50389"/>
                </a:lnTo>
                <a:close/>
              </a:path>
              <a:path w="1066800" h="127000">
                <a:moveTo>
                  <a:pt x="940308" y="76297"/>
                </a:moveTo>
                <a:lnTo>
                  <a:pt x="940308" y="50389"/>
                </a:lnTo>
                <a:lnTo>
                  <a:pt x="952500" y="50292"/>
                </a:lnTo>
                <a:lnTo>
                  <a:pt x="952500" y="76200"/>
                </a:lnTo>
                <a:lnTo>
                  <a:pt x="940308" y="76297"/>
                </a:lnTo>
                <a:close/>
              </a:path>
              <a:path w="1066800" h="127000">
                <a:moveTo>
                  <a:pt x="940308" y="126492"/>
                </a:moveTo>
                <a:lnTo>
                  <a:pt x="940308" y="76297"/>
                </a:lnTo>
                <a:lnTo>
                  <a:pt x="952500" y="76200"/>
                </a:lnTo>
                <a:lnTo>
                  <a:pt x="952500" y="50292"/>
                </a:lnTo>
                <a:lnTo>
                  <a:pt x="1042118" y="50292"/>
                </a:lnTo>
                <a:lnTo>
                  <a:pt x="1066800" y="62484"/>
                </a:lnTo>
                <a:lnTo>
                  <a:pt x="940308" y="126492"/>
                </a:lnTo>
                <a:close/>
              </a:path>
              <a:path w="1066800" h="127000">
                <a:moveTo>
                  <a:pt x="0" y="83820"/>
                </a:moveTo>
                <a:lnTo>
                  <a:pt x="0" y="57912"/>
                </a:lnTo>
                <a:lnTo>
                  <a:pt x="940308" y="50389"/>
                </a:lnTo>
                <a:lnTo>
                  <a:pt x="940308" y="76297"/>
                </a:lnTo>
                <a:lnTo>
                  <a:pt x="0" y="8382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7214794" y="4693023"/>
            <a:ext cx="811306" cy="614643"/>
          </a:xfrm>
          <a:custGeom>
            <a:avLst/>
            <a:gdLst/>
            <a:ahLst/>
            <a:cxnLst/>
            <a:rect l="l" t="t" r="r" b="b"/>
            <a:pathLst>
              <a:path w="919479" h="696595">
                <a:moveTo>
                  <a:pt x="809585" y="629258"/>
                </a:moveTo>
                <a:lnTo>
                  <a:pt x="0" y="19812"/>
                </a:lnTo>
                <a:lnTo>
                  <a:pt x="15240" y="0"/>
                </a:lnTo>
                <a:lnTo>
                  <a:pt x="824534" y="609227"/>
                </a:lnTo>
                <a:lnTo>
                  <a:pt x="809585" y="629258"/>
                </a:lnTo>
                <a:close/>
              </a:path>
              <a:path w="919479" h="696595">
                <a:moveTo>
                  <a:pt x="889254" y="637032"/>
                </a:moveTo>
                <a:lnTo>
                  <a:pt x="819912" y="637032"/>
                </a:lnTo>
                <a:lnTo>
                  <a:pt x="835152" y="617220"/>
                </a:lnTo>
                <a:lnTo>
                  <a:pt x="824534" y="609227"/>
                </a:lnTo>
                <a:lnTo>
                  <a:pt x="854964" y="568452"/>
                </a:lnTo>
                <a:lnTo>
                  <a:pt x="889254" y="637032"/>
                </a:lnTo>
                <a:close/>
              </a:path>
              <a:path w="919479" h="696595">
                <a:moveTo>
                  <a:pt x="819912" y="637032"/>
                </a:moveTo>
                <a:lnTo>
                  <a:pt x="809585" y="629258"/>
                </a:lnTo>
                <a:lnTo>
                  <a:pt x="824534" y="609227"/>
                </a:lnTo>
                <a:lnTo>
                  <a:pt x="835152" y="617220"/>
                </a:lnTo>
                <a:lnTo>
                  <a:pt x="819912" y="637032"/>
                </a:lnTo>
                <a:close/>
              </a:path>
              <a:path w="919479" h="696595">
                <a:moveTo>
                  <a:pt x="918972" y="696468"/>
                </a:moveTo>
                <a:lnTo>
                  <a:pt x="778764" y="670560"/>
                </a:lnTo>
                <a:lnTo>
                  <a:pt x="809585" y="629258"/>
                </a:lnTo>
                <a:lnTo>
                  <a:pt x="819912" y="637032"/>
                </a:lnTo>
                <a:lnTo>
                  <a:pt x="889254" y="637032"/>
                </a:lnTo>
                <a:lnTo>
                  <a:pt x="918972" y="69646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2220076" y="6132731"/>
            <a:ext cx="245409" cy="255678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1588" spc="75" dirty="0">
                <a:solidFill>
                  <a:prstClr val="black"/>
                </a:solidFill>
                <a:latin typeface="Times New Roman"/>
                <a:cs typeface="Times New Roman"/>
              </a:rPr>
              <a:t>1</a:t>
            </a:r>
            <a:r>
              <a:rPr sz="1588" spc="84" dirty="0">
                <a:solidFill>
                  <a:prstClr val="black"/>
                </a:solidFill>
                <a:latin typeface="Times New Roman"/>
                <a:cs typeface="Times New Roman"/>
              </a:rPr>
              <a:t>6</a:t>
            </a:r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5419194" y="5582769"/>
            <a:ext cx="1353671" cy="500039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marR="4483" indent="280722" defTabSz="806867">
              <a:spcBef>
                <a:spcPts val="88"/>
              </a:spcBef>
            </a:pPr>
            <a:r>
              <a:rPr sz="1588" spc="97" dirty="0">
                <a:solidFill>
                  <a:srgbClr val="5691DB"/>
                </a:solidFill>
                <a:latin typeface="Times New Roman"/>
                <a:cs typeface="Times New Roman"/>
              </a:rPr>
              <a:t>Thermal  </a:t>
            </a:r>
            <a:r>
              <a:rPr sz="1588" spc="13" dirty="0">
                <a:solidFill>
                  <a:srgbClr val="5691DB"/>
                </a:solidFill>
                <a:latin typeface="Times New Roman"/>
                <a:cs typeface="Times New Roman"/>
              </a:rPr>
              <a:t>M</a:t>
            </a:r>
            <a:r>
              <a:rPr sz="1588" spc="340" dirty="0">
                <a:solidFill>
                  <a:srgbClr val="5691DB"/>
                </a:solidFill>
                <a:latin typeface="Times New Roman"/>
                <a:cs typeface="Times New Roman"/>
              </a:rPr>
              <a:t>a</a:t>
            </a:r>
            <a:r>
              <a:rPr sz="1588" spc="159" dirty="0">
                <a:solidFill>
                  <a:srgbClr val="5691DB"/>
                </a:solidFill>
                <a:latin typeface="Times New Roman"/>
                <a:cs typeface="Times New Roman"/>
              </a:rPr>
              <a:t>n</a:t>
            </a:r>
            <a:r>
              <a:rPr sz="1588" spc="340" dirty="0">
                <a:solidFill>
                  <a:srgbClr val="5691DB"/>
                </a:solidFill>
                <a:latin typeface="Times New Roman"/>
                <a:cs typeface="Times New Roman"/>
              </a:rPr>
              <a:t>a</a:t>
            </a:r>
            <a:r>
              <a:rPr sz="1588" spc="251" dirty="0">
                <a:solidFill>
                  <a:srgbClr val="5691DB"/>
                </a:solidFill>
                <a:latin typeface="Times New Roman"/>
                <a:cs typeface="Times New Roman"/>
              </a:rPr>
              <a:t>g</a:t>
            </a:r>
            <a:r>
              <a:rPr sz="1588" spc="309" dirty="0">
                <a:solidFill>
                  <a:srgbClr val="5691DB"/>
                </a:solidFill>
                <a:latin typeface="Times New Roman"/>
                <a:cs typeface="Times New Roman"/>
              </a:rPr>
              <a:t>e</a:t>
            </a:r>
            <a:r>
              <a:rPr sz="1588" spc="256" dirty="0">
                <a:solidFill>
                  <a:srgbClr val="5691DB"/>
                </a:solidFill>
                <a:latin typeface="Times New Roman"/>
                <a:cs typeface="Times New Roman"/>
              </a:rPr>
              <a:t>m</a:t>
            </a:r>
            <a:r>
              <a:rPr sz="1588" spc="309" dirty="0">
                <a:solidFill>
                  <a:srgbClr val="5691DB"/>
                </a:solidFill>
                <a:latin typeface="Times New Roman"/>
                <a:cs typeface="Times New Roman"/>
              </a:rPr>
              <a:t>e</a:t>
            </a:r>
            <a:r>
              <a:rPr sz="1588" spc="159" dirty="0">
                <a:solidFill>
                  <a:srgbClr val="5691DB"/>
                </a:solidFill>
                <a:latin typeface="Times New Roman"/>
                <a:cs typeface="Times New Roman"/>
              </a:rPr>
              <a:t>n</a:t>
            </a:r>
            <a:r>
              <a:rPr sz="1588" spc="31" dirty="0">
                <a:solidFill>
                  <a:srgbClr val="5691DB"/>
                </a:solidFill>
                <a:latin typeface="Times New Roman"/>
                <a:cs typeface="Times New Roman"/>
              </a:rPr>
              <a:t>t</a:t>
            </a:r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4786256" y="2962387"/>
            <a:ext cx="2612763" cy="137294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7782261" y="2630245"/>
            <a:ext cx="2282078" cy="312084"/>
          </a:xfrm>
          <a:custGeom>
            <a:avLst/>
            <a:gdLst/>
            <a:ahLst/>
            <a:cxnLst/>
            <a:rect l="l" t="t" r="r" b="b"/>
            <a:pathLst>
              <a:path w="2586354" h="353695">
                <a:moveTo>
                  <a:pt x="2583180" y="353568"/>
                </a:moveTo>
                <a:lnTo>
                  <a:pt x="1524" y="353568"/>
                </a:lnTo>
                <a:lnTo>
                  <a:pt x="0" y="352044"/>
                </a:lnTo>
                <a:lnTo>
                  <a:pt x="0" y="3048"/>
                </a:lnTo>
                <a:lnTo>
                  <a:pt x="1524" y="0"/>
                </a:lnTo>
                <a:lnTo>
                  <a:pt x="2583180" y="0"/>
                </a:lnTo>
                <a:lnTo>
                  <a:pt x="2586228" y="3048"/>
                </a:lnTo>
                <a:lnTo>
                  <a:pt x="2586228" y="4572"/>
                </a:lnTo>
                <a:lnTo>
                  <a:pt x="9144" y="4572"/>
                </a:lnTo>
                <a:lnTo>
                  <a:pt x="4572" y="9144"/>
                </a:lnTo>
                <a:lnTo>
                  <a:pt x="9144" y="9144"/>
                </a:lnTo>
                <a:lnTo>
                  <a:pt x="9144" y="344424"/>
                </a:lnTo>
                <a:lnTo>
                  <a:pt x="4572" y="344424"/>
                </a:lnTo>
                <a:lnTo>
                  <a:pt x="9144" y="348996"/>
                </a:lnTo>
                <a:lnTo>
                  <a:pt x="2586228" y="348996"/>
                </a:lnTo>
                <a:lnTo>
                  <a:pt x="2586228" y="352044"/>
                </a:lnTo>
                <a:lnTo>
                  <a:pt x="2583180" y="353568"/>
                </a:lnTo>
                <a:close/>
              </a:path>
              <a:path w="2586354" h="353695">
                <a:moveTo>
                  <a:pt x="9144" y="9144"/>
                </a:moveTo>
                <a:lnTo>
                  <a:pt x="4572" y="9144"/>
                </a:lnTo>
                <a:lnTo>
                  <a:pt x="9144" y="4572"/>
                </a:lnTo>
                <a:lnTo>
                  <a:pt x="9144" y="9144"/>
                </a:lnTo>
                <a:close/>
              </a:path>
              <a:path w="2586354" h="353695">
                <a:moveTo>
                  <a:pt x="2575560" y="9144"/>
                </a:moveTo>
                <a:lnTo>
                  <a:pt x="9144" y="9144"/>
                </a:lnTo>
                <a:lnTo>
                  <a:pt x="9144" y="4572"/>
                </a:lnTo>
                <a:lnTo>
                  <a:pt x="2575560" y="4572"/>
                </a:lnTo>
                <a:lnTo>
                  <a:pt x="2575560" y="9144"/>
                </a:lnTo>
                <a:close/>
              </a:path>
              <a:path w="2586354" h="353695">
                <a:moveTo>
                  <a:pt x="2575560" y="348996"/>
                </a:moveTo>
                <a:lnTo>
                  <a:pt x="2575560" y="4572"/>
                </a:lnTo>
                <a:lnTo>
                  <a:pt x="2581656" y="9144"/>
                </a:lnTo>
                <a:lnTo>
                  <a:pt x="2586228" y="9144"/>
                </a:lnTo>
                <a:lnTo>
                  <a:pt x="2586228" y="344424"/>
                </a:lnTo>
                <a:lnTo>
                  <a:pt x="2581656" y="344424"/>
                </a:lnTo>
                <a:lnTo>
                  <a:pt x="2575560" y="348996"/>
                </a:lnTo>
                <a:close/>
              </a:path>
              <a:path w="2586354" h="353695">
                <a:moveTo>
                  <a:pt x="2586228" y="9144"/>
                </a:moveTo>
                <a:lnTo>
                  <a:pt x="2581656" y="9144"/>
                </a:lnTo>
                <a:lnTo>
                  <a:pt x="2575560" y="4572"/>
                </a:lnTo>
                <a:lnTo>
                  <a:pt x="2586228" y="4572"/>
                </a:lnTo>
                <a:lnTo>
                  <a:pt x="2586228" y="9144"/>
                </a:lnTo>
                <a:close/>
              </a:path>
              <a:path w="2586354" h="353695">
                <a:moveTo>
                  <a:pt x="9144" y="348996"/>
                </a:moveTo>
                <a:lnTo>
                  <a:pt x="4572" y="344424"/>
                </a:lnTo>
                <a:lnTo>
                  <a:pt x="9144" y="344424"/>
                </a:lnTo>
                <a:lnTo>
                  <a:pt x="9144" y="348996"/>
                </a:lnTo>
                <a:close/>
              </a:path>
              <a:path w="2586354" h="353695">
                <a:moveTo>
                  <a:pt x="2575560" y="348996"/>
                </a:moveTo>
                <a:lnTo>
                  <a:pt x="9144" y="348996"/>
                </a:lnTo>
                <a:lnTo>
                  <a:pt x="9144" y="344424"/>
                </a:lnTo>
                <a:lnTo>
                  <a:pt x="2575560" y="344424"/>
                </a:lnTo>
                <a:lnTo>
                  <a:pt x="2575560" y="348996"/>
                </a:lnTo>
                <a:close/>
              </a:path>
              <a:path w="2586354" h="353695">
                <a:moveTo>
                  <a:pt x="2586228" y="348996"/>
                </a:moveTo>
                <a:lnTo>
                  <a:pt x="2575560" y="348996"/>
                </a:lnTo>
                <a:lnTo>
                  <a:pt x="2581656" y="344424"/>
                </a:lnTo>
                <a:lnTo>
                  <a:pt x="2586228" y="344424"/>
                </a:lnTo>
                <a:lnTo>
                  <a:pt x="2586228" y="34899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7855745" y="2660724"/>
            <a:ext cx="2086535" cy="228054"/>
          </a:xfrm>
          <a:prstGeom prst="rect">
            <a:avLst/>
          </a:prstGeom>
        </p:spPr>
        <p:txBody>
          <a:bodyPr vert="horz" wrap="square" lIns="0" tIns="10646" rIns="0" bIns="0" rtlCol="0">
            <a:spAutoFit/>
          </a:bodyPr>
          <a:lstStyle/>
          <a:p>
            <a:pPr marL="11206" defTabSz="806867">
              <a:spcBef>
                <a:spcPts val="84"/>
              </a:spcBef>
            </a:pPr>
            <a:r>
              <a:rPr sz="1412" spc="150" dirty="0">
                <a:solidFill>
                  <a:prstClr val="black"/>
                </a:solidFill>
                <a:latin typeface="Times New Roman"/>
                <a:cs typeface="Times New Roman"/>
              </a:rPr>
              <a:t>Redundant </a:t>
            </a:r>
            <a:r>
              <a:rPr sz="1412" spc="115" dirty="0">
                <a:solidFill>
                  <a:prstClr val="black"/>
                </a:solidFill>
                <a:latin typeface="Times New Roman"/>
                <a:cs typeface="Times New Roman"/>
              </a:rPr>
              <a:t>safety</a:t>
            </a:r>
            <a:r>
              <a:rPr sz="1412" spc="-7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412" spc="159" dirty="0">
                <a:solidFill>
                  <a:prstClr val="black"/>
                </a:solidFill>
                <a:latin typeface="Times New Roman"/>
                <a:cs typeface="Times New Roman"/>
              </a:rPr>
              <a:t>chain</a:t>
            </a:r>
            <a:endParaRPr sz="1412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7544248" y="4246580"/>
            <a:ext cx="957543" cy="461682"/>
          </a:xfrm>
          <a:custGeom>
            <a:avLst/>
            <a:gdLst/>
            <a:ahLst/>
            <a:cxnLst/>
            <a:rect l="l" t="t" r="r" b="b"/>
            <a:pathLst>
              <a:path w="1085215" h="523239">
                <a:moveTo>
                  <a:pt x="964285" y="477882"/>
                </a:moveTo>
                <a:lnTo>
                  <a:pt x="0" y="22860"/>
                </a:lnTo>
                <a:lnTo>
                  <a:pt x="12192" y="0"/>
                </a:lnTo>
                <a:lnTo>
                  <a:pt x="975533" y="453780"/>
                </a:lnTo>
                <a:lnTo>
                  <a:pt x="964285" y="477882"/>
                </a:lnTo>
                <a:close/>
              </a:path>
              <a:path w="1085215" h="523239">
                <a:moveTo>
                  <a:pt x="1056027" y="483108"/>
                </a:moveTo>
                <a:lnTo>
                  <a:pt x="975360" y="483108"/>
                </a:lnTo>
                <a:lnTo>
                  <a:pt x="986028" y="458724"/>
                </a:lnTo>
                <a:lnTo>
                  <a:pt x="975533" y="453780"/>
                </a:lnTo>
                <a:lnTo>
                  <a:pt x="996696" y="408432"/>
                </a:lnTo>
                <a:lnTo>
                  <a:pt x="1056027" y="483108"/>
                </a:lnTo>
                <a:close/>
              </a:path>
              <a:path w="1085215" h="523239">
                <a:moveTo>
                  <a:pt x="975360" y="483108"/>
                </a:moveTo>
                <a:lnTo>
                  <a:pt x="964285" y="477882"/>
                </a:lnTo>
                <a:lnTo>
                  <a:pt x="975533" y="453780"/>
                </a:lnTo>
                <a:lnTo>
                  <a:pt x="986028" y="458724"/>
                </a:lnTo>
                <a:lnTo>
                  <a:pt x="975360" y="483108"/>
                </a:lnTo>
                <a:close/>
              </a:path>
              <a:path w="1085215" h="523239">
                <a:moveTo>
                  <a:pt x="943356" y="522732"/>
                </a:moveTo>
                <a:lnTo>
                  <a:pt x="964285" y="477882"/>
                </a:lnTo>
                <a:lnTo>
                  <a:pt x="975360" y="483108"/>
                </a:lnTo>
                <a:lnTo>
                  <a:pt x="1056027" y="483108"/>
                </a:lnTo>
                <a:lnTo>
                  <a:pt x="1085088" y="519684"/>
                </a:lnTo>
                <a:lnTo>
                  <a:pt x="943356" y="52273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8577809" y="4412819"/>
            <a:ext cx="1331819" cy="744401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marR="4483" indent="560" algn="ctr" defTabSz="806867">
              <a:spcBef>
                <a:spcPts val="88"/>
              </a:spcBef>
            </a:pPr>
            <a:r>
              <a:rPr sz="1588" spc="66" dirty="0">
                <a:solidFill>
                  <a:srgbClr val="FF0000"/>
                </a:solidFill>
                <a:latin typeface="Times New Roman"/>
                <a:cs typeface="Times New Roman"/>
              </a:rPr>
              <a:t>Fault  </a:t>
            </a:r>
            <a:r>
              <a:rPr sz="1588" spc="97" dirty="0">
                <a:solidFill>
                  <a:srgbClr val="FF0000"/>
                </a:solidFill>
                <a:latin typeface="Times New Roman"/>
                <a:cs typeface="Times New Roman"/>
              </a:rPr>
              <a:t>Localization</a:t>
            </a:r>
            <a:r>
              <a:rPr sz="1588" spc="-22" dirty="0">
                <a:solidFill>
                  <a:srgbClr val="FF0000"/>
                </a:solidFill>
                <a:latin typeface="Times New Roman"/>
                <a:cs typeface="Times New Roman"/>
              </a:rPr>
              <a:t> </a:t>
            </a:r>
            <a:r>
              <a:rPr sz="1588" spc="287" dirty="0">
                <a:solidFill>
                  <a:srgbClr val="FF0000"/>
                </a:solidFill>
                <a:latin typeface="Times New Roman"/>
                <a:cs typeface="Times New Roman"/>
              </a:rPr>
              <a:t>/  </a:t>
            </a:r>
            <a:r>
              <a:rPr sz="1588" spc="57" dirty="0">
                <a:solidFill>
                  <a:srgbClr val="FF0000"/>
                </a:solidFill>
                <a:latin typeface="Times New Roman"/>
                <a:cs typeface="Times New Roman"/>
              </a:rPr>
              <a:t>Built-in-test</a:t>
            </a:r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2580512" y="6263601"/>
            <a:ext cx="605118" cy="110317"/>
          </a:xfrm>
          <a:prstGeom prst="rect">
            <a:avLst/>
          </a:prstGeom>
        </p:spPr>
        <p:txBody>
          <a:bodyPr vert="horz" wrap="square" lIns="0" tIns="1681" rIns="0" bIns="0" rtlCol="0">
            <a:spAutoFit/>
          </a:bodyPr>
          <a:lstStyle/>
          <a:p>
            <a:pPr marL="11206" defTabSz="806867">
              <a:spcBef>
                <a:spcPts val="13"/>
              </a:spcBef>
            </a:pPr>
            <a:r>
              <a:rPr sz="706" spc="22" dirty="0">
                <a:solidFill>
                  <a:prstClr val="black"/>
                </a:solidFill>
                <a:latin typeface="Times New Roman"/>
                <a:cs typeface="Times New Roman"/>
              </a:rPr>
              <a:t>6-7 </a:t>
            </a:r>
            <a:r>
              <a:rPr sz="706" spc="31" dirty="0">
                <a:solidFill>
                  <a:prstClr val="black"/>
                </a:solidFill>
                <a:latin typeface="Times New Roman"/>
                <a:cs typeface="Times New Roman"/>
              </a:rPr>
              <a:t>NOV</a:t>
            </a:r>
            <a:r>
              <a:rPr sz="706" spc="-53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706" spc="31" dirty="0">
                <a:solidFill>
                  <a:prstClr val="black"/>
                </a:solidFill>
                <a:latin typeface="Times New Roman"/>
                <a:cs typeface="Times New Roman"/>
              </a:rPr>
              <a:t>2019</a:t>
            </a:r>
            <a:endParaRPr sz="706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2580512" y="6146229"/>
            <a:ext cx="536762" cy="120500"/>
          </a:xfrm>
          <a:prstGeom prst="rect">
            <a:avLst/>
          </a:prstGeom>
        </p:spPr>
        <p:txBody>
          <a:bodyPr vert="horz" wrap="square" lIns="0" tIns="11766" rIns="0" bIns="0" rtlCol="0">
            <a:spAutoFit/>
          </a:bodyPr>
          <a:lstStyle/>
          <a:p>
            <a:pPr marL="11206" defTabSz="806867">
              <a:spcBef>
                <a:spcPts val="93"/>
              </a:spcBef>
            </a:pPr>
            <a:r>
              <a:rPr sz="706" spc="-26" dirty="0">
                <a:solidFill>
                  <a:prstClr val="black"/>
                </a:solidFill>
                <a:latin typeface="Times New Roman"/>
                <a:cs typeface="Times New Roman"/>
              </a:rPr>
              <a:t>EVOLIS-</a:t>
            </a:r>
            <a:r>
              <a:rPr sz="706" spc="-53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706" spc="35" dirty="0">
                <a:solidFill>
                  <a:prstClr val="black"/>
                </a:solidFill>
                <a:latin typeface="Times New Roman"/>
                <a:cs typeface="Times New Roman"/>
              </a:rPr>
              <a:t>Saft</a:t>
            </a:r>
            <a:endParaRPr sz="706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En savoir plus sur Saft</a:t>
            </a:r>
            <a:endParaRPr lang="fr-FR" dirty="0"/>
          </a:p>
        </p:txBody>
      </p:sp>
      <p:sp>
        <p:nvSpPr>
          <p:cNvPr id="63" name="ZoneTexte 62"/>
          <p:cNvSpPr txBox="1"/>
          <p:nvPr/>
        </p:nvSpPr>
        <p:spPr>
          <a:xfrm>
            <a:off x="3983641" y="1177116"/>
            <a:ext cx="28230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/>
            <a:r>
              <a:rPr lang="fr-FR" sz="2000" b="1" dirty="0" err="1">
                <a:solidFill>
                  <a:srgbClr val="122F53"/>
                </a:solidFill>
                <a:latin typeface="Century Gothic"/>
              </a:rPr>
              <a:t>Suivez-nous !</a:t>
            </a:r>
          </a:p>
        </p:txBody>
      </p:sp>
      <p:pic>
        <p:nvPicPr>
          <p:cNvPr id="65" name="Image 6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19883" y="1138170"/>
            <a:ext cx="663756" cy="469487"/>
          </a:xfrm>
          <a:prstGeom prst="rect">
            <a:avLst/>
          </a:prstGeom>
        </p:spPr>
      </p:pic>
      <p:pic>
        <p:nvPicPr>
          <p:cNvPr id="12" name="Espace réservé pour une image  11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373" y="1001917"/>
            <a:ext cx="3119669" cy="5234345"/>
          </a:xfrm>
        </p:spPr>
      </p:pic>
      <p:sp>
        <p:nvSpPr>
          <p:cNvPr id="16" name="ZoneTexte 15"/>
          <p:cNvSpPr txBox="1"/>
          <p:nvPr/>
        </p:nvSpPr>
        <p:spPr>
          <a:xfrm>
            <a:off x="5003481" y="2171590"/>
            <a:ext cx="18031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219170"/>
            <a:r>
              <a:rPr lang="fr-FR" sz="1200" i="1" dirty="0">
                <a:solidFill>
                  <a:prstClr val="black"/>
                </a:solidFill>
                <a:latin typeface="Century Gothic"/>
              </a:rPr>
              <a:t>Saft International</a:t>
            </a:r>
            <a:br>
              <a:rPr lang="fr-FR" sz="1200" i="1" dirty="0">
                <a:solidFill>
                  <a:prstClr val="black"/>
                </a:solidFill>
                <a:latin typeface="Century Gothic"/>
              </a:rPr>
            </a:br>
            <a:r>
              <a:rPr lang="fr-FR" sz="1200" i="1" dirty="0">
                <a:solidFill>
                  <a:prstClr val="black"/>
                </a:solidFill>
                <a:latin typeface="Century Gothic"/>
              </a:rPr>
              <a:t>Magazine</a:t>
            </a:r>
          </a:p>
        </p:txBody>
      </p:sp>
      <p:sp>
        <p:nvSpPr>
          <p:cNvPr id="17" name="ZoneTexte 16"/>
          <p:cNvSpPr txBox="1"/>
          <p:nvPr/>
        </p:nvSpPr>
        <p:spPr>
          <a:xfrm>
            <a:off x="5531571" y="1771572"/>
            <a:ext cx="12750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219170"/>
            <a:r>
              <a:rPr lang="fr-FR" sz="1200" i="1" dirty="0">
                <a:solidFill>
                  <a:prstClr val="black"/>
                </a:solidFill>
                <a:latin typeface="Century Gothic"/>
              </a:rPr>
              <a:t>Brochure</a:t>
            </a:r>
          </a:p>
          <a:p>
            <a:pPr algn="r" defTabSz="1219170"/>
            <a:r>
              <a:rPr lang="fr-FR" sz="1200" i="1" dirty="0" err="1">
                <a:solidFill>
                  <a:prstClr val="black"/>
                </a:solidFill>
                <a:latin typeface="Century Gothic"/>
              </a:rPr>
              <a:t>corporate</a:t>
            </a:r>
            <a:endParaRPr lang="fr-FR" sz="1200" i="1" dirty="0">
              <a:solidFill>
                <a:prstClr val="black"/>
              </a:solidFill>
              <a:latin typeface="Century Gothic"/>
            </a:endParaRPr>
          </a:p>
        </p:txBody>
      </p:sp>
      <p:cxnSp>
        <p:nvCxnSpPr>
          <p:cNvPr id="18" name="Connecteur droit 17"/>
          <p:cNvCxnSpPr/>
          <p:nvPr/>
        </p:nvCxnSpPr>
        <p:spPr>
          <a:xfrm>
            <a:off x="6488653" y="4356243"/>
            <a:ext cx="212792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Image 20">
            <a:hlinkClick r:id="rId4"/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38632" y="4821442"/>
            <a:ext cx="921600" cy="925660"/>
          </a:xfrm>
          <a:prstGeom prst="rect">
            <a:avLst/>
          </a:prstGeom>
        </p:spPr>
      </p:pic>
      <p:pic>
        <p:nvPicPr>
          <p:cNvPr id="22" name="Image 21">
            <a:hlinkClick r:id="rId6"/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4500" y="4821441"/>
            <a:ext cx="921600" cy="921600"/>
          </a:xfrm>
          <a:prstGeom prst="rect">
            <a:avLst/>
          </a:prstGeom>
        </p:spPr>
      </p:pic>
      <p:pic>
        <p:nvPicPr>
          <p:cNvPr id="23" name="Image 22">
            <a:hlinkClick r:id="rId8"/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56566" y="4821441"/>
            <a:ext cx="921601" cy="921601"/>
          </a:xfrm>
          <a:prstGeom prst="rect">
            <a:avLst/>
          </a:prstGeom>
        </p:spPr>
      </p:pic>
      <p:pic>
        <p:nvPicPr>
          <p:cNvPr id="24" name="Image 23">
            <a:hlinkClick r:id="rId10"/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97600" y="4830161"/>
            <a:ext cx="921600" cy="921600"/>
          </a:xfrm>
          <a:prstGeom prst="rect">
            <a:avLst/>
          </a:prstGeom>
        </p:spPr>
      </p:pic>
      <p:pic>
        <p:nvPicPr>
          <p:cNvPr id="25" name="Image 24">
            <a:hlinkClick r:id="rId12"/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15533" y="4825501"/>
            <a:ext cx="921600" cy="921600"/>
          </a:xfrm>
          <a:prstGeom prst="rect">
            <a:avLst/>
          </a:prstGeom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F392752F-32F9-4BCA-AF62-5C8989F601D8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8400" y="1562395"/>
            <a:ext cx="2127920" cy="2827087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7AFC4627-6EBF-410C-99B8-DA5A327CB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/>
            <a:endParaRPr lang="fr-FR" dirty="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A7C4542-A1A3-4B0F-8DA7-763417D68E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/>
            <a:fld id="{52D2473F-88A5-49A5-A347-C33A6A16DE0F}" type="slidenum">
              <a:rPr lang="fr-FR">
                <a:solidFill>
                  <a:prstClr val="black"/>
                </a:solidFill>
                <a:latin typeface="Century Gothic"/>
              </a:rPr>
              <a:pPr defTabSz="1219170"/>
              <a:t>16</a:t>
            </a:fld>
            <a:endParaRPr lang="fr-FR">
              <a:solidFill>
                <a:prstClr val="black"/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704777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 txBox="1">
            <a:spLocks/>
          </p:cNvSpPr>
          <p:nvPr/>
        </p:nvSpPr>
        <p:spPr bwMode="auto">
          <a:xfrm>
            <a:off x="3683732" y="5127512"/>
            <a:ext cx="4824536" cy="100811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400" b="1" kern="1200">
                <a:solidFill>
                  <a:srgbClr val="E8147B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1" hangingPunct="1"/>
            <a:r>
              <a:rPr lang="fr-FR" altLang="fr-FR" dirty="0">
                <a:solidFill>
                  <a:srgbClr val="0067B8"/>
                </a:solidFill>
                <a:latin typeface="Calibri"/>
              </a:rPr>
              <a:t>Renaud Buronfosse</a:t>
            </a:r>
          </a:p>
        </p:txBody>
      </p:sp>
      <p:sp>
        <p:nvSpPr>
          <p:cNvPr id="7" name="Titre 1">
            <a:extLst>
              <a:ext uri="{FF2B5EF4-FFF2-40B4-BE49-F238E27FC236}">
                <a16:creationId xmlns:a16="http://schemas.microsoft.com/office/drawing/2014/main" id="{6BE609E3-EF4C-4139-99CD-618E36B94B29}"/>
              </a:ext>
            </a:extLst>
          </p:cNvPr>
          <p:cNvSpPr txBox="1">
            <a:spLocks/>
          </p:cNvSpPr>
          <p:nvPr/>
        </p:nvSpPr>
        <p:spPr>
          <a:xfrm>
            <a:off x="152400" y="890954"/>
            <a:ext cx="11887199" cy="3423138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600" b="1" i="0" kern="1200">
                <a:solidFill>
                  <a:srgbClr val="FF66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4900" dirty="0"/>
              <a:t>Réforme des CACES </a:t>
            </a:r>
          </a:p>
          <a:p>
            <a:r>
              <a:rPr lang="fr-FR" sz="4900" dirty="0"/>
              <a:t>au 1</a:t>
            </a:r>
            <a:r>
              <a:rPr lang="fr-FR" sz="4900" baseline="30000" dirty="0"/>
              <a:t>er</a:t>
            </a:r>
            <a:r>
              <a:rPr lang="fr-FR" sz="4900" dirty="0"/>
              <a:t> janvier 2020</a:t>
            </a:r>
          </a:p>
          <a:p>
            <a:endParaRPr lang="fr-FR" sz="3000" dirty="0"/>
          </a:p>
        </p:txBody>
      </p:sp>
    </p:spTree>
    <p:extLst>
      <p:ext uri="{BB962C8B-B14F-4D97-AF65-F5344CB8AC3E}">
        <p14:creationId xmlns:p14="http://schemas.microsoft.com/office/powerpoint/2010/main" val="11413500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2D3E2D5-318E-6D40-AA74-1880D6C6BCB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4080" y="2389632"/>
            <a:ext cx="10162903" cy="3679371"/>
          </a:xfrm>
        </p:spPr>
        <p:txBody>
          <a:bodyPr/>
          <a:lstStyle/>
          <a:p>
            <a:pPr>
              <a:tabLst>
                <a:tab pos="804863" algn="l"/>
              </a:tabLst>
            </a:pPr>
            <a:r>
              <a:rPr lang="fr-FR" sz="3200" b="1" dirty="0">
                <a:solidFill>
                  <a:schemeClr val="tx1"/>
                </a:solidFill>
              </a:rPr>
              <a:t> CACES : certificats d’aptitude à la conduite en 	sécurité</a:t>
            </a:r>
          </a:p>
          <a:p>
            <a:pPr marL="0" indent="0">
              <a:buNone/>
            </a:pPr>
            <a:endParaRPr lang="fr-FR" sz="32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fr-FR" sz="3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6391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2D3E2D5-318E-6D40-AA74-1880D6C6BCB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4632" y="1301496"/>
            <a:ext cx="11311128" cy="4934712"/>
          </a:xfrm>
        </p:spPr>
        <p:txBody>
          <a:bodyPr/>
          <a:lstStyle/>
          <a:p>
            <a:pPr>
              <a:tabLst>
                <a:tab pos="804863" algn="l"/>
              </a:tabLst>
            </a:pPr>
            <a:r>
              <a:rPr lang="fr-FR" sz="2800" b="1" dirty="0">
                <a:solidFill>
                  <a:schemeClr val="tx1"/>
                </a:solidFill>
              </a:rPr>
              <a:t> R.372 modifiée par la R.482 Engins de chantier</a:t>
            </a:r>
          </a:p>
          <a:p>
            <a:pPr>
              <a:tabLst>
                <a:tab pos="804863" algn="l"/>
              </a:tabLst>
            </a:pPr>
            <a:r>
              <a:rPr lang="fr-FR" sz="2800" b="1" dirty="0">
                <a:solidFill>
                  <a:schemeClr val="tx1"/>
                </a:solidFill>
              </a:rPr>
              <a:t> R.377 modifiée par la R.487 Grues à tour</a:t>
            </a:r>
          </a:p>
          <a:p>
            <a:pPr>
              <a:tabLst>
                <a:tab pos="804863" algn="l"/>
              </a:tabLst>
            </a:pPr>
            <a:r>
              <a:rPr lang="fr-FR" sz="2800" b="1" dirty="0">
                <a:solidFill>
                  <a:schemeClr val="tx1"/>
                </a:solidFill>
              </a:rPr>
              <a:t>R.383 modifiée par la R.483 Grues mobiles</a:t>
            </a:r>
          </a:p>
          <a:p>
            <a:pPr>
              <a:tabLst>
                <a:tab pos="539750" algn="l"/>
              </a:tabLst>
            </a:pPr>
            <a:r>
              <a:rPr lang="fr-FR" sz="2800" b="1" dirty="0">
                <a:solidFill>
                  <a:srgbClr val="0070C0"/>
                </a:solidFill>
              </a:rPr>
              <a:t>R.386 par la R.486 Plateformes élévatrices mobiles de 	personnes</a:t>
            </a:r>
          </a:p>
          <a:p>
            <a:pPr>
              <a:tabLst>
                <a:tab pos="539750" algn="l"/>
              </a:tabLst>
            </a:pPr>
            <a:r>
              <a:rPr lang="fr-FR" sz="2800" b="1" dirty="0">
                <a:solidFill>
                  <a:srgbClr val="0070C0"/>
                </a:solidFill>
              </a:rPr>
              <a:t>R.389 par la R.489 Chariots automoteurs de manutention 	à conducteur porté</a:t>
            </a:r>
          </a:p>
          <a:p>
            <a:pPr>
              <a:tabLst>
                <a:tab pos="804863" algn="l"/>
              </a:tabLst>
            </a:pPr>
            <a:r>
              <a:rPr lang="fr-FR" sz="2800" b="1" dirty="0">
                <a:solidFill>
                  <a:schemeClr val="tx1"/>
                </a:solidFill>
              </a:rPr>
              <a:t>R.390 par la R.490 Grues de chargement de véhicules</a:t>
            </a:r>
          </a:p>
          <a:p>
            <a:pPr marL="0" indent="0">
              <a:buNone/>
            </a:pPr>
            <a:endParaRPr lang="fr-FR" sz="28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fr-FR" sz="2800" b="1" dirty="0">
              <a:solidFill>
                <a:schemeClr val="tx1"/>
              </a:solidFill>
            </a:endParaRPr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2769B9CB-AC49-4965-86F5-AAF8950E17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752" y="147413"/>
            <a:ext cx="8373291" cy="727869"/>
          </a:xfrm>
        </p:spPr>
        <p:txBody>
          <a:bodyPr/>
          <a:lstStyle/>
          <a:p>
            <a:r>
              <a:rPr lang="fr-FR" dirty="0"/>
              <a:t>Révision des 6 recommandations</a:t>
            </a:r>
          </a:p>
        </p:txBody>
      </p:sp>
    </p:spTree>
    <p:extLst>
      <p:ext uri="{BB962C8B-B14F-4D97-AF65-F5344CB8AC3E}">
        <p14:creationId xmlns:p14="http://schemas.microsoft.com/office/powerpoint/2010/main" val="24072986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061883" y="1011218"/>
            <a:ext cx="8068235" cy="10085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9570720" y="6154718"/>
            <a:ext cx="145228" cy="9412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9793941" y="6173545"/>
            <a:ext cx="48745" cy="75640"/>
          </a:xfrm>
          <a:custGeom>
            <a:avLst/>
            <a:gdLst/>
            <a:ahLst/>
            <a:cxnLst/>
            <a:rect l="l" t="t" r="r" b="b"/>
            <a:pathLst>
              <a:path w="55245" h="85725">
                <a:moveTo>
                  <a:pt x="0" y="0"/>
                </a:moveTo>
                <a:lnTo>
                  <a:pt x="54864" y="0"/>
                </a:lnTo>
                <a:lnTo>
                  <a:pt x="54864" y="85344"/>
                </a:lnTo>
                <a:lnTo>
                  <a:pt x="0" y="85344"/>
                </a:lnTo>
                <a:lnTo>
                  <a:pt x="0" y="0"/>
                </a:lnTo>
                <a:close/>
              </a:path>
            </a:pathLst>
          </a:custGeom>
          <a:solidFill>
            <a:srgbClr val="C11F2D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9740153" y="6164804"/>
            <a:ext cx="156322" cy="0"/>
          </a:xfrm>
          <a:custGeom>
            <a:avLst/>
            <a:gdLst/>
            <a:ahLst/>
            <a:cxnLst/>
            <a:rect l="l" t="t" r="r" b="b"/>
            <a:pathLst>
              <a:path w="177165">
                <a:moveTo>
                  <a:pt x="0" y="0"/>
                </a:moveTo>
                <a:lnTo>
                  <a:pt x="176784" y="0"/>
                </a:lnTo>
              </a:path>
            </a:pathLst>
          </a:custGeom>
          <a:ln w="22860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9194201" y="6154718"/>
            <a:ext cx="151952" cy="9412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9373048" y="6154718"/>
            <a:ext cx="160020" cy="9412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9194202" y="6312722"/>
            <a:ext cx="705971" cy="0"/>
          </a:xfrm>
          <a:custGeom>
            <a:avLst/>
            <a:gdLst/>
            <a:ahLst/>
            <a:cxnLst/>
            <a:rect l="l" t="t" r="r" b="b"/>
            <a:pathLst>
              <a:path w="800100">
                <a:moveTo>
                  <a:pt x="0" y="0"/>
                </a:moveTo>
                <a:lnTo>
                  <a:pt x="800100" y="0"/>
                </a:lnTo>
              </a:path>
            </a:pathLst>
          </a:custGeom>
          <a:ln w="53340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2538581" y="6196405"/>
            <a:ext cx="0" cy="118782"/>
          </a:xfrm>
          <a:custGeom>
            <a:avLst/>
            <a:gdLst/>
            <a:ahLst/>
            <a:cxnLst/>
            <a:rect l="l" t="t" r="r" b="b"/>
            <a:pathLst>
              <a:path h="134620">
                <a:moveTo>
                  <a:pt x="0" y="0"/>
                </a:moveTo>
                <a:lnTo>
                  <a:pt x="0" y="134112"/>
                </a:lnTo>
              </a:path>
            </a:pathLst>
          </a:custGeom>
          <a:ln w="10668">
            <a:solidFill>
              <a:srgbClr val="595959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538581" y="6094207"/>
            <a:ext cx="0" cy="159124"/>
          </a:xfrm>
          <a:custGeom>
            <a:avLst/>
            <a:gdLst/>
            <a:ahLst/>
            <a:cxnLst/>
            <a:rect l="l" t="t" r="r" b="b"/>
            <a:pathLst>
              <a:path h="180340">
                <a:moveTo>
                  <a:pt x="0" y="0"/>
                </a:moveTo>
                <a:lnTo>
                  <a:pt x="0" y="179832"/>
                </a:lnTo>
              </a:path>
            </a:pathLst>
          </a:custGeom>
          <a:ln w="10668">
            <a:solidFill>
              <a:srgbClr val="008EC1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2401605" y="569749"/>
            <a:ext cx="1518397" cy="309421"/>
          </a:xfrm>
          <a:prstGeom prst="rect">
            <a:avLst/>
          </a:prstGeom>
        </p:spPr>
        <p:txBody>
          <a:bodyPr vert="horz" wrap="square" lIns="0" tIns="10646" rIns="0" bIns="0" rtlCol="0">
            <a:spAutoFit/>
          </a:bodyPr>
          <a:lstStyle/>
          <a:p>
            <a:pPr marL="11206">
              <a:spcBef>
                <a:spcPts val="84"/>
              </a:spcBef>
            </a:pPr>
            <a:r>
              <a:rPr sz="1941" spc="71" dirty="0">
                <a:solidFill>
                  <a:srgbClr val="9A6EA8"/>
                </a:solidFill>
              </a:rPr>
              <a:t>Unité</a:t>
            </a:r>
            <a:r>
              <a:rPr sz="1941" spc="31" dirty="0">
                <a:solidFill>
                  <a:srgbClr val="9A6EA8"/>
                </a:solidFill>
              </a:rPr>
              <a:t> </a:t>
            </a:r>
            <a:r>
              <a:rPr sz="1941" spc="35" dirty="0">
                <a:solidFill>
                  <a:srgbClr val="9A6EA8"/>
                </a:solidFill>
              </a:rPr>
              <a:t>Lithium</a:t>
            </a:r>
            <a:endParaRPr sz="1941"/>
          </a:p>
        </p:txBody>
      </p:sp>
      <p:sp>
        <p:nvSpPr>
          <p:cNvPr id="12" name="object 12"/>
          <p:cNvSpPr txBox="1"/>
          <p:nvPr/>
        </p:nvSpPr>
        <p:spPr>
          <a:xfrm>
            <a:off x="2408391" y="2055616"/>
            <a:ext cx="3210485" cy="161281"/>
          </a:xfrm>
          <a:prstGeom prst="rect">
            <a:avLst/>
          </a:prstGeom>
        </p:spPr>
        <p:txBody>
          <a:bodyPr vert="horz" wrap="square" lIns="0" tIns="11766" rIns="0" bIns="0" rtlCol="0">
            <a:spAutoFit/>
          </a:bodyPr>
          <a:lstStyle/>
          <a:p>
            <a:pPr marL="11206" defTabSz="806867">
              <a:spcBef>
                <a:spcPts val="93"/>
              </a:spcBef>
            </a:pPr>
            <a:r>
              <a:rPr sz="971" spc="71" dirty="0">
                <a:solidFill>
                  <a:srgbClr val="595959"/>
                </a:solidFill>
                <a:latin typeface="Times New Roman"/>
                <a:cs typeface="Times New Roman"/>
              </a:rPr>
              <a:t>Une</a:t>
            </a:r>
            <a:r>
              <a:rPr sz="971" spc="9" dirty="0">
                <a:solidFill>
                  <a:srgbClr val="595959"/>
                </a:solidFill>
                <a:latin typeface="Times New Roman"/>
                <a:cs typeface="Times New Roman"/>
              </a:rPr>
              <a:t> </a:t>
            </a:r>
            <a:r>
              <a:rPr sz="971" spc="106" dirty="0">
                <a:solidFill>
                  <a:srgbClr val="595959"/>
                </a:solidFill>
                <a:latin typeface="Times New Roman"/>
                <a:cs typeface="Times New Roman"/>
              </a:rPr>
              <a:t>empreinte</a:t>
            </a:r>
            <a:r>
              <a:rPr sz="971" spc="-4" dirty="0">
                <a:solidFill>
                  <a:srgbClr val="595959"/>
                </a:solidFill>
                <a:latin typeface="Times New Roman"/>
                <a:cs typeface="Times New Roman"/>
              </a:rPr>
              <a:t> </a:t>
            </a:r>
            <a:r>
              <a:rPr sz="971" spc="53" dirty="0">
                <a:solidFill>
                  <a:srgbClr val="595959"/>
                </a:solidFill>
                <a:latin typeface="Times New Roman"/>
                <a:cs typeface="Times New Roman"/>
              </a:rPr>
              <a:t>industrielle</a:t>
            </a:r>
            <a:r>
              <a:rPr sz="971" spc="4" dirty="0">
                <a:solidFill>
                  <a:srgbClr val="595959"/>
                </a:solidFill>
                <a:latin typeface="Times New Roman"/>
                <a:cs typeface="Times New Roman"/>
              </a:rPr>
              <a:t> </a:t>
            </a:r>
            <a:r>
              <a:rPr sz="971" spc="13" dirty="0">
                <a:solidFill>
                  <a:srgbClr val="595959"/>
                </a:solidFill>
                <a:latin typeface="Times New Roman"/>
                <a:cs typeface="Times New Roman"/>
              </a:rPr>
              <a:t>Li-ion</a:t>
            </a:r>
            <a:r>
              <a:rPr sz="971" spc="18" dirty="0">
                <a:solidFill>
                  <a:srgbClr val="595959"/>
                </a:solidFill>
                <a:latin typeface="Times New Roman"/>
                <a:cs typeface="Times New Roman"/>
              </a:rPr>
              <a:t> </a:t>
            </a:r>
            <a:r>
              <a:rPr sz="971" spc="146" dirty="0">
                <a:solidFill>
                  <a:srgbClr val="595959"/>
                </a:solidFill>
                <a:latin typeface="Times New Roman"/>
                <a:cs typeface="Times New Roman"/>
              </a:rPr>
              <a:t>en</a:t>
            </a:r>
            <a:r>
              <a:rPr sz="971" spc="13" dirty="0">
                <a:solidFill>
                  <a:srgbClr val="595959"/>
                </a:solidFill>
                <a:latin typeface="Times New Roman"/>
                <a:cs typeface="Times New Roman"/>
              </a:rPr>
              <a:t> </a:t>
            </a:r>
            <a:r>
              <a:rPr sz="971" spc="79" dirty="0">
                <a:solidFill>
                  <a:srgbClr val="595959"/>
                </a:solidFill>
                <a:latin typeface="Times New Roman"/>
                <a:cs typeface="Times New Roman"/>
              </a:rPr>
              <a:t>Europe</a:t>
            </a:r>
            <a:r>
              <a:rPr sz="971" spc="13" dirty="0">
                <a:solidFill>
                  <a:srgbClr val="595959"/>
                </a:solidFill>
                <a:latin typeface="Times New Roman"/>
                <a:cs typeface="Times New Roman"/>
              </a:rPr>
              <a:t> </a:t>
            </a:r>
            <a:r>
              <a:rPr sz="971" spc="-93" dirty="0">
                <a:solidFill>
                  <a:srgbClr val="595959"/>
                </a:solidFill>
                <a:latin typeface="Times New Roman"/>
                <a:cs typeface="Times New Roman"/>
              </a:rPr>
              <a:t>&amp;</a:t>
            </a:r>
            <a:r>
              <a:rPr sz="971" spc="18" dirty="0">
                <a:solidFill>
                  <a:srgbClr val="595959"/>
                </a:solidFill>
                <a:latin typeface="Times New Roman"/>
                <a:cs typeface="Times New Roman"/>
              </a:rPr>
              <a:t> </a:t>
            </a:r>
            <a:r>
              <a:rPr sz="971" spc="124" dirty="0">
                <a:solidFill>
                  <a:srgbClr val="595959"/>
                </a:solidFill>
                <a:latin typeface="Times New Roman"/>
                <a:cs typeface="Times New Roman"/>
              </a:rPr>
              <a:t>aux</a:t>
            </a:r>
            <a:r>
              <a:rPr sz="971" spc="22" dirty="0">
                <a:solidFill>
                  <a:srgbClr val="595959"/>
                </a:solidFill>
                <a:latin typeface="Times New Roman"/>
                <a:cs typeface="Times New Roman"/>
              </a:rPr>
              <a:t> </a:t>
            </a:r>
            <a:r>
              <a:rPr sz="971" spc="-31" dirty="0">
                <a:solidFill>
                  <a:srgbClr val="595959"/>
                </a:solidFill>
                <a:latin typeface="Times New Roman"/>
                <a:cs typeface="Times New Roman"/>
              </a:rPr>
              <a:t>USA</a:t>
            </a:r>
            <a:endParaRPr sz="971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2399404" y="2309532"/>
            <a:ext cx="3208804" cy="0"/>
          </a:xfrm>
          <a:custGeom>
            <a:avLst/>
            <a:gdLst/>
            <a:ahLst/>
            <a:cxnLst/>
            <a:rect l="l" t="t" r="r" b="b"/>
            <a:pathLst>
              <a:path w="3636645">
                <a:moveTo>
                  <a:pt x="0" y="0"/>
                </a:moveTo>
                <a:lnTo>
                  <a:pt x="3636264" y="0"/>
                </a:lnTo>
              </a:path>
            </a:pathLst>
          </a:custGeom>
          <a:ln w="56388">
            <a:solidFill>
              <a:srgbClr val="008EC1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6265432" y="2614108"/>
            <a:ext cx="1674158" cy="99911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6260054" y="2607384"/>
            <a:ext cx="640080" cy="1009873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255562" y="3039926"/>
            <a:ext cx="651062" cy="133528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794" spc="62" dirty="0">
                <a:solidFill>
                  <a:srgbClr val="FFFFFF"/>
                </a:solidFill>
                <a:latin typeface="Times New Roman"/>
                <a:cs typeface="Times New Roman"/>
              </a:rPr>
              <a:t>Cockeysville</a:t>
            </a:r>
            <a:endParaRPr sz="794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7943627" y="2610074"/>
            <a:ext cx="1938057" cy="849569"/>
          </a:xfrm>
          <a:prstGeom prst="rect">
            <a:avLst/>
          </a:prstGeom>
          <a:solidFill>
            <a:srgbClr val="9A6EA8"/>
          </a:solidFill>
        </p:spPr>
        <p:txBody>
          <a:bodyPr vert="horz" wrap="square" lIns="0" tIns="1121" rIns="0" bIns="0" rtlCol="0">
            <a:spAutoFit/>
          </a:bodyPr>
          <a:lstStyle/>
          <a:p>
            <a:pPr defTabSz="806867">
              <a:spcBef>
                <a:spcPts val="9"/>
              </a:spcBef>
            </a:pPr>
            <a:endParaRPr sz="1103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81807" marR="116547" defTabSz="806867"/>
            <a:r>
              <a:rPr sz="882" spc="97" dirty="0">
                <a:solidFill>
                  <a:srgbClr val="FFFFFF"/>
                </a:solidFill>
                <a:latin typeface="Times New Roman"/>
                <a:cs typeface="Times New Roman"/>
              </a:rPr>
              <a:t>Centre </a:t>
            </a:r>
            <a:r>
              <a:rPr sz="882" spc="168" dirty="0">
                <a:solidFill>
                  <a:srgbClr val="FFFFFF"/>
                </a:solidFill>
                <a:latin typeface="Times New Roman"/>
                <a:cs typeface="Times New Roman"/>
              </a:rPr>
              <a:t>de</a:t>
            </a:r>
            <a:r>
              <a:rPr sz="882" spc="-62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882" spc="-26" dirty="0">
                <a:solidFill>
                  <a:srgbClr val="FFFFFF"/>
                </a:solidFill>
                <a:latin typeface="Times New Roman"/>
                <a:cs typeface="Times New Roman"/>
              </a:rPr>
              <a:t>R&amp;D </a:t>
            </a:r>
            <a:r>
              <a:rPr sz="882" spc="84" dirty="0">
                <a:solidFill>
                  <a:srgbClr val="FFFFFF"/>
                </a:solidFill>
                <a:latin typeface="Times New Roman"/>
                <a:cs typeface="Times New Roman"/>
              </a:rPr>
              <a:t>pour </a:t>
            </a:r>
            <a:r>
              <a:rPr sz="882" spc="57" dirty="0">
                <a:solidFill>
                  <a:srgbClr val="FFFFFF"/>
                </a:solidFill>
                <a:latin typeface="Times New Roman"/>
                <a:cs typeface="Times New Roman"/>
              </a:rPr>
              <a:t>l’Amérique  </a:t>
            </a:r>
            <a:r>
              <a:rPr sz="882" spc="128" dirty="0">
                <a:solidFill>
                  <a:srgbClr val="FFFFFF"/>
                </a:solidFill>
                <a:latin typeface="Times New Roman"/>
                <a:cs typeface="Times New Roman"/>
              </a:rPr>
              <a:t>du</a:t>
            </a:r>
            <a:r>
              <a:rPr sz="882" spc="22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882" spc="75" dirty="0">
                <a:solidFill>
                  <a:srgbClr val="FFFFFF"/>
                </a:solidFill>
                <a:latin typeface="Times New Roman"/>
                <a:cs typeface="Times New Roman"/>
              </a:rPr>
              <a:t>nord.</a:t>
            </a:r>
            <a:endParaRPr sz="882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defTabSz="806867">
              <a:spcBef>
                <a:spcPts val="44"/>
              </a:spcBef>
            </a:pPr>
            <a:endParaRPr sz="882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81807" marR="103099" defTabSz="806867"/>
            <a:r>
              <a:rPr sz="882" spc="71" dirty="0">
                <a:solidFill>
                  <a:srgbClr val="FFFFFF"/>
                </a:solidFill>
                <a:latin typeface="Times New Roman"/>
                <a:cs typeface="Times New Roman"/>
              </a:rPr>
              <a:t>Fabrication</a:t>
            </a:r>
            <a:r>
              <a:rPr sz="882" spc="13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882" spc="75" dirty="0">
                <a:solidFill>
                  <a:srgbClr val="FFFFFF"/>
                </a:solidFill>
                <a:latin typeface="Times New Roman"/>
                <a:cs typeface="Times New Roman"/>
              </a:rPr>
              <a:t>multi-technologique  </a:t>
            </a:r>
            <a:r>
              <a:rPr sz="882" spc="84" dirty="0">
                <a:solidFill>
                  <a:srgbClr val="FFFFFF"/>
                </a:solidFill>
                <a:latin typeface="Times New Roman"/>
                <a:cs typeface="Times New Roman"/>
              </a:rPr>
              <a:t>(éléments </a:t>
            </a:r>
            <a:r>
              <a:rPr sz="882" spc="115" dirty="0">
                <a:solidFill>
                  <a:srgbClr val="FFFFFF"/>
                </a:solidFill>
                <a:latin typeface="Times New Roman"/>
                <a:cs typeface="Times New Roman"/>
              </a:rPr>
              <a:t>et</a:t>
            </a:r>
            <a:r>
              <a:rPr sz="882" spc="-26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882" spc="62" dirty="0">
                <a:solidFill>
                  <a:srgbClr val="FFFFFF"/>
                </a:solidFill>
                <a:latin typeface="Times New Roman"/>
                <a:cs typeface="Times New Roman"/>
              </a:rPr>
              <a:t>systèmes)</a:t>
            </a:r>
            <a:endParaRPr sz="882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2395370" y="2616798"/>
            <a:ext cx="1699708" cy="1015253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2387301" y="2610073"/>
            <a:ext cx="646804" cy="102466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2463492" y="3050668"/>
            <a:ext cx="494740" cy="133528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794" spc="-66" dirty="0">
                <a:solidFill>
                  <a:srgbClr val="FFFFFF"/>
                </a:solidFill>
                <a:latin typeface="Times New Roman"/>
                <a:cs typeface="Times New Roman"/>
              </a:rPr>
              <a:t>B</a:t>
            </a:r>
            <a:r>
              <a:rPr sz="794" spc="110" dirty="0">
                <a:solidFill>
                  <a:srgbClr val="FFFFFF"/>
                </a:solidFill>
                <a:latin typeface="Times New Roman"/>
                <a:cs typeface="Times New Roman"/>
              </a:rPr>
              <a:t>o</a:t>
            </a:r>
            <a:r>
              <a:rPr sz="794" spc="-13" dirty="0">
                <a:solidFill>
                  <a:srgbClr val="FFFFFF"/>
                </a:solidFill>
                <a:latin typeface="Times New Roman"/>
                <a:cs typeface="Times New Roman"/>
              </a:rPr>
              <a:t>r</a:t>
            </a:r>
            <a:r>
              <a:rPr sz="794" spc="124" dirty="0">
                <a:solidFill>
                  <a:srgbClr val="FFFFFF"/>
                </a:solidFill>
                <a:latin typeface="Times New Roman"/>
                <a:cs typeface="Times New Roman"/>
              </a:rPr>
              <a:t>d</a:t>
            </a:r>
            <a:r>
              <a:rPr sz="794" spc="154" dirty="0">
                <a:solidFill>
                  <a:srgbClr val="FFFFFF"/>
                </a:solidFill>
                <a:latin typeface="Times New Roman"/>
                <a:cs typeface="Times New Roman"/>
              </a:rPr>
              <a:t>e</a:t>
            </a:r>
            <a:r>
              <a:rPr sz="794" spc="172" dirty="0">
                <a:solidFill>
                  <a:srgbClr val="FFFFFF"/>
                </a:solidFill>
                <a:latin typeface="Times New Roman"/>
                <a:cs typeface="Times New Roman"/>
              </a:rPr>
              <a:t>a</a:t>
            </a:r>
            <a:r>
              <a:rPr sz="794" spc="79" dirty="0">
                <a:solidFill>
                  <a:srgbClr val="FFFFFF"/>
                </a:solidFill>
                <a:latin typeface="Times New Roman"/>
                <a:cs typeface="Times New Roman"/>
              </a:rPr>
              <a:t>u</a:t>
            </a:r>
            <a:r>
              <a:rPr sz="794" spc="44" dirty="0">
                <a:solidFill>
                  <a:srgbClr val="FFFFFF"/>
                </a:solidFill>
                <a:latin typeface="Times New Roman"/>
                <a:cs typeface="Times New Roman"/>
              </a:rPr>
              <a:t>x</a:t>
            </a:r>
            <a:endParaRPr sz="794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4073563" y="2615453"/>
            <a:ext cx="1938057" cy="890233"/>
          </a:xfrm>
          <a:prstGeom prst="rect">
            <a:avLst/>
          </a:prstGeom>
          <a:solidFill>
            <a:srgbClr val="9A6EA8"/>
          </a:solidFill>
        </p:spPr>
        <p:txBody>
          <a:bodyPr vert="horz" wrap="square" lIns="0" tIns="560" rIns="0" bIns="0" rtlCol="0">
            <a:spAutoFit/>
          </a:bodyPr>
          <a:lstStyle/>
          <a:p>
            <a:pPr defTabSz="806867">
              <a:spcBef>
                <a:spcPts val="4"/>
              </a:spcBef>
            </a:pPr>
            <a:endParaRPr sz="927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80126" marR="117108" defTabSz="806867"/>
            <a:r>
              <a:rPr sz="971" spc="53" dirty="0">
                <a:solidFill>
                  <a:srgbClr val="FFFFFF"/>
                </a:solidFill>
                <a:latin typeface="Times New Roman"/>
                <a:cs typeface="Times New Roman"/>
              </a:rPr>
              <a:t>Ligne </a:t>
            </a:r>
            <a:r>
              <a:rPr sz="971" spc="75" dirty="0">
                <a:solidFill>
                  <a:srgbClr val="FFFFFF"/>
                </a:solidFill>
                <a:latin typeface="Times New Roman"/>
                <a:cs typeface="Times New Roman"/>
              </a:rPr>
              <a:t>pilote </a:t>
            </a:r>
            <a:r>
              <a:rPr sz="971" spc="97" dirty="0">
                <a:solidFill>
                  <a:srgbClr val="FFFFFF"/>
                </a:solidFill>
                <a:latin typeface="Times New Roman"/>
                <a:cs typeface="Times New Roman"/>
              </a:rPr>
              <a:t>opérationnelle  depuis</a:t>
            </a:r>
            <a:r>
              <a:rPr sz="971" spc="-18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971" spc="53" dirty="0">
                <a:solidFill>
                  <a:srgbClr val="FFFFFF"/>
                </a:solidFill>
                <a:latin typeface="Times New Roman"/>
                <a:cs typeface="Times New Roman"/>
              </a:rPr>
              <a:t>plus</a:t>
            </a:r>
            <a:r>
              <a:rPr sz="971" spc="-4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971" spc="185" dirty="0">
                <a:solidFill>
                  <a:srgbClr val="FFFFFF"/>
                </a:solidFill>
                <a:latin typeface="Times New Roman"/>
                <a:cs typeface="Times New Roman"/>
              </a:rPr>
              <a:t>de</a:t>
            </a:r>
            <a:r>
              <a:rPr sz="971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971" spc="49" dirty="0">
                <a:solidFill>
                  <a:srgbClr val="FFFFFF"/>
                </a:solidFill>
                <a:latin typeface="Times New Roman"/>
                <a:cs typeface="Times New Roman"/>
              </a:rPr>
              <a:t>15</a:t>
            </a:r>
            <a:r>
              <a:rPr sz="971" spc="31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971" spc="88" dirty="0">
                <a:solidFill>
                  <a:srgbClr val="FFFFFF"/>
                </a:solidFill>
                <a:latin typeface="Times New Roman"/>
                <a:cs typeface="Times New Roman"/>
              </a:rPr>
              <a:t>ans,</a:t>
            </a:r>
            <a:r>
              <a:rPr sz="971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971" spc="124" dirty="0">
                <a:solidFill>
                  <a:srgbClr val="FFFFFF"/>
                </a:solidFill>
                <a:latin typeface="Times New Roman"/>
                <a:cs typeface="Times New Roman"/>
              </a:rPr>
              <a:t>centre  </a:t>
            </a:r>
            <a:r>
              <a:rPr sz="971" spc="190" dirty="0">
                <a:solidFill>
                  <a:srgbClr val="FFFFFF"/>
                </a:solidFill>
                <a:latin typeface="Times New Roman"/>
                <a:cs typeface="Times New Roman"/>
              </a:rPr>
              <a:t>de </a:t>
            </a:r>
            <a:r>
              <a:rPr sz="971" spc="124" dirty="0">
                <a:solidFill>
                  <a:srgbClr val="FFFFFF"/>
                </a:solidFill>
                <a:latin typeface="Times New Roman"/>
                <a:cs typeface="Times New Roman"/>
              </a:rPr>
              <a:t>Recherche </a:t>
            </a:r>
            <a:r>
              <a:rPr sz="971" spc="128" dirty="0">
                <a:solidFill>
                  <a:srgbClr val="FFFFFF"/>
                </a:solidFill>
                <a:latin typeface="Times New Roman"/>
                <a:cs typeface="Times New Roman"/>
              </a:rPr>
              <a:t>et  </a:t>
            </a:r>
            <a:r>
              <a:rPr sz="971" spc="137" dirty="0">
                <a:solidFill>
                  <a:srgbClr val="FFFFFF"/>
                </a:solidFill>
                <a:latin typeface="Times New Roman"/>
                <a:cs typeface="Times New Roman"/>
              </a:rPr>
              <a:t>développement </a:t>
            </a:r>
            <a:r>
              <a:rPr sz="971" spc="97" dirty="0">
                <a:solidFill>
                  <a:srgbClr val="FFFFFF"/>
                </a:solidFill>
                <a:latin typeface="Times New Roman"/>
                <a:cs typeface="Times New Roman"/>
              </a:rPr>
              <a:t>pour  </a:t>
            </a:r>
            <a:r>
              <a:rPr sz="971" spc="53" dirty="0">
                <a:solidFill>
                  <a:srgbClr val="FFFFFF"/>
                </a:solidFill>
                <a:latin typeface="Times New Roman"/>
                <a:cs typeface="Times New Roman"/>
              </a:rPr>
              <a:t>l'Europe.</a:t>
            </a:r>
            <a:endParaRPr sz="971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6265432" y="3933265"/>
            <a:ext cx="1679538" cy="1019286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6264088" y="3926540"/>
            <a:ext cx="691179" cy="10287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6297236" y="4369835"/>
            <a:ext cx="624728" cy="133528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794" spc="71" dirty="0">
                <a:solidFill>
                  <a:srgbClr val="FFFFFF"/>
                </a:solidFill>
                <a:latin typeface="Times New Roman"/>
                <a:cs typeface="Times New Roman"/>
              </a:rPr>
              <a:t>J</a:t>
            </a:r>
            <a:r>
              <a:rPr sz="794" spc="172" dirty="0">
                <a:solidFill>
                  <a:srgbClr val="FFFFFF"/>
                </a:solidFill>
                <a:latin typeface="Times New Roman"/>
                <a:cs typeface="Times New Roman"/>
              </a:rPr>
              <a:t>a</a:t>
            </a:r>
            <a:r>
              <a:rPr sz="794" spc="154" dirty="0">
                <a:solidFill>
                  <a:srgbClr val="FFFFFF"/>
                </a:solidFill>
                <a:latin typeface="Times New Roman"/>
                <a:cs typeface="Times New Roman"/>
              </a:rPr>
              <a:t>c</a:t>
            </a:r>
            <a:r>
              <a:rPr sz="794" spc="62" dirty="0">
                <a:solidFill>
                  <a:srgbClr val="FFFFFF"/>
                </a:solidFill>
                <a:latin typeface="Times New Roman"/>
                <a:cs typeface="Times New Roman"/>
              </a:rPr>
              <a:t>k</a:t>
            </a:r>
            <a:r>
              <a:rPr sz="794" spc="35" dirty="0">
                <a:solidFill>
                  <a:srgbClr val="FFFFFF"/>
                </a:solidFill>
                <a:latin typeface="Times New Roman"/>
                <a:cs typeface="Times New Roman"/>
              </a:rPr>
              <a:t>s</a:t>
            </a:r>
            <a:r>
              <a:rPr sz="794" spc="110" dirty="0">
                <a:solidFill>
                  <a:srgbClr val="FFFFFF"/>
                </a:solidFill>
                <a:latin typeface="Times New Roman"/>
                <a:cs typeface="Times New Roman"/>
              </a:rPr>
              <a:t>o</a:t>
            </a:r>
            <a:r>
              <a:rPr sz="794" spc="79" dirty="0">
                <a:solidFill>
                  <a:srgbClr val="FFFFFF"/>
                </a:solidFill>
                <a:latin typeface="Times New Roman"/>
                <a:cs typeface="Times New Roman"/>
              </a:rPr>
              <a:t>n</a:t>
            </a:r>
            <a:r>
              <a:rPr sz="794" spc="44" dirty="0">
                <a:solidFill>
                  <a:srgbClr val="FFFFFF"/>
                </a:solidFill>
                <a:latin typeface="Times New Roman"/>
                <a:cs typeface="Times New Roman"/>
              </a:rPr>
              <a:t>v</a:t>
            </a:r>
            <a:r>
              <a:rPr sz="794" spc="-31" dirty="0">
                <a:solidFill>
                  <a:srgbClr val="FFFFFF"/>
                </a:solidFill>
                <a:latin typeface="Times New Roman"/>
                <a:cs typeface="Times New Roman"/>
              </a:rPr>
              <a:t>ill</a:t>
            </a:r>
            <a:r>
              <a:rPr sz="794" spc="154" dirty="0">
                <a:solidFill>
                  <a:srgbClr val="FFFFFF"/>
                </a:solidFill>
                <a:latin typeface="Times New Roman"/>
                <a:cs typeface="Times New Roman"/>
              </a:rPr>
              <a:t>e</a:t>
            </a:r>
            <a:endParaRPr sz="794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7939592" y="3933265"/>
            <a:ext cx="1938057" cy="919686"/>
          </a:xfrm>
          <a:prstGeom prst="rect">
            <a:avLst/>
          </a:prstGeom>
          <a:solidFill>
            <a:srgbClr val="9A6EA8"/>
          </a:solidFill>
        </p:spPr>
        <p:txBody>
          <a:bodyPr vert="horz" wrap="square" lIns="0" tIns="104215" rIns="0" bIns="0" rtlCol="0">
            <a:spAutoFit/>
          </a:bodyPr>
          <a:lstStyle/>
          <a:p>
            <a:pPr marL="80126" marR="75644" algn="just" defTabSz="806867">
              <a:spcBef>
                <a:spcPts val="821"/>
              </a:spcBef>
            </a:pPr>
            <a:r>
              <a:rPr sz="882" spc="62" dirty="0">
                <a:solidFill>
                  <a:srgbClr val="FFFFFF"/>
                </a:solidFill>
                <a:latin typeface="Times New Roman"/>
                <a:cs typeface="Times New Roman"/>
              </a:rPr>
              <a:t>Depuis </a:t>
            </a:r>
            <a:r>
              <a:rPr sz="882" spc="40" dirty="0">
                <a:solidFill>
                  <a:srgbClr val="FFFFFF"/>
                </a:solidFill>
                <a:latin typeface="Times New Roman"/>
                <a:cs typeface="Times New Roman"/>
              </a:rPr>
              <a:t>2011, </a:t>
            </a:r>
            <a:r>
              <a:rPr sz="882" spc="53" dirty="0">
                <a:solidFill>
                  <a:srgbClr val="FFFFFF"/>
                </a:solidFill>
                <a:latin typeface="Times New Roman"/>
                <a:cs typeface="Times New Roman"/>
              </a:rPr>
              <a:t>le </a:t>
            </a:r>
            <a:r>
              <a:rPr sz="882" spc="40" dirty="0">
                <a:solidFill>
                  <a:srgbClr val="FFFFFF"/>
                </a:solidFill>
                <a:latin typeface="Times New Roman"/>
                <a:cs typeface="Times New Roman"/>
              </a:rPr>
              <a:t>site </a:t>
            </a:r>
            <a:r>
              <a:rPr sz="882" spc="115" dirty="0">
                <a:solidFill>
                  <a:srgbClr val="FFFFFF"/>
                </a:solidFill>
                <a:latin typeface="Times New Roman"/>
                <a:cs typeface="Times New Roman"/>
              </a:rPr>
              <a:t>répond </a:t>
            </a:r>
            <a:r>
              <a:rPr sz="882" spc="93" dirty="0">
                <a:solidFill>
                  <a:srgbClr val="FFFFFF"/>
                </a:solidFill>
                <a:latin typeface="Times New Roman"/>
                <a:cs typeface="Times New Roman"/>
              </a:rPr>
              <a:t>aux  </a:t>
            </a:r>
            <a:r>
              <a:rPr sz="882" spc="97" dirty="0">
                <a:solidFill>
                  <a:srgbClr val="FFFFFF"/>
                </a:solidFill>
                <a:latin typeface="Times New Roman"/>
                <a:cs typeface="Times New Roman"/>
              </a:rPr>
              <a:t>exigences</a:t>
            </a:r>
            <a:r>
              <a:rPr sz="882" spc="13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882" spc="-22" dirty="0">
                <a:solidFill>
                  <a:srgbClr val="FFFFFF"/>
                </a:solidFill>
                <a:latin typeface="Times New Roman"/>
                <a:cs typeface="Times New Roman"/>
              </a:rPr>
              <a:t>BAA.</a:t>
            </a:r>
            <a:endParaRPr sz="882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80126" marR="74523" algn="just" defTabSz="806867"/>
            <a:r>
              <a:rPr sz="882" spc="75" dirty="0">
                <a:solidFill>
                  <a:srgbClr val="FFFFFF"/>
                </a:solidFill>
                <a:latin typeface="Times New Roman"/>
                <a:cs typeface="Times New Roman"/>
              </a:rPr>
              <a:t>Volume important, </a:t>
            </a:r>
            <a:r>
              <a:rPr sz="882" spc="71" dirty="0">
                <a:solidFill>
                  <a:srgbClr val="FFFFFF"/>
                </a:solidFill>
                <a:latin typeface="Times New Roman"/>
                <a:cs typeface="Times New Roman"/>
              </a:rPr>
              <a:t>incluant </a:t>
            </a:r>
            <a:r>
              <a:rPr sz="882" spc="115" dirty="0">
                <a:solidFill>
                  <a:srgbClr val="FFFFFF"/>
                </a:solidFill>
                <a:latin typeface="Times New Roman"/>
                <a:cs typeface="Times New Roman"/>
              </a:rPr>
              <a:t>une  </a:t>
            </a:r>
            <a:r>
              <a:rPr sz="882" spc="57" dirty="0">
                <a:solidFill>
                  <a:srgbClr val="FFFFFF"/>
                </a:solidFill>
                <a:latin typeface="Times New Roman"/>
                <a:cs typeface="Times New Roman"/>
              </a:rPr>
              <a:t>ligne </a:t>
            </a:r>
            <a:r>
              <a:rPr sz="882" spc="168" dirty="0">
                <a:solidFill>
                  <a:srgbClr val="FFFFFF"/>
                </a:solidFill>
                <a:latin typeface="Times New Roman"/>
                <a:cs typeface="Times New Roman"/>
              </a:rPr>
              <a:t>de </a:t>
            </a:r>
            <a:r>
              <a:rPr sz="882" spc="75" dirty="0">
                <a:solidFill>
                  <a:srgbClr val="FFFFFF"/>
                </a:solidFill>
                <a:latin typeface="Times New Roman"/>
                <a:cs typeface="Times New Roman"/>
              </a:rPr>
              <a:t>fabrication </a:t>
            </a:r>
            <a:r>
              <a:rPr sz="882" spc="84" dirty="0">
                <a:solidFill>
                  <a:srgbClr val="FFFFFF"/>
                </a:solidFill>
                <a:latin typeface="Times New Roman"/>
                <a:cs typeface="Times New Roman"/>
              </a:rPr>
              <a:t>pour </a:t>
            </a:r>
            <a:r>
              <a:rPr sz="882" spc="115" dirty="0">
                <a:solidFill>
                  <a:srgbClr val="FFFFFF"/>
                </a:solidFill>
                <a:latin typeface="Times New Roman"/>
                <a:cs typeface="Times New Roman"/>
              </a:rPr>
              <a:t>des  </a:t>
            </a:r>
            <a:r>
              <a:rPr sz="882" spc="93" dirty="0">
                <a:solidFill>
                  <a:srgbClr val="FFFFFF"/>
                </a:solidFill>
                <a:latin typeface="Times New Roman"/>
                <a:cs typeface="Times New Roman"/>
              </a:rPr>
              <a:t>éléments</a:t>
            </a:r>
            <a:r>
              <a:rPr sz="882" spc="13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882" spc="66" dirty="0">
                <a:solidFill>
                  <a:srgbClr val="FFFFFF"/>
                </a:solidFill>
                <a:latin typeface="Times New Roman"/>
                <a:cs typeface="Times New Roman"/>
              </a:rPr>
              <a:t>prismatiques</a:t>
            </a:r>
            <a:endParaRPr sz="882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80126" algn="just" defTabSz="806867"/>
            <a:r>
              <a:rPr sz="882" spc="128" dirty="0">
                <a:solidFill>
                  <a:srgbClr val="FFFFFF"/>
                </a:solidFill>
                <a:latin typeface="Times New Roman"/>
                <a:cs typeface="Times New Roman"/>
              </a:rPr>
              <a:t>Capacité </a:t>
            </a:r>
            <a:r>
              <a:rPr sz="882" spc="-4" dirty="0">
                <a:solidFill>
                  <a:srgbClr val="FFFFFF"/>
                </a:solidFill>
                <a:latin typeface="Times New Roman"/>
                <a:cs typeface="Times New Roman"/>
              </a:rPr>
              <a:t>: </a:t>
            </a:r>
            <a:r>
              <a:rPr sz="882" spc="44" dirty="0">
                <a:solidFill>
                  <a:srgbClr val="FFFFFF"/>
                </a:solidFill>
                <a:latin typeface="Times New Roman"/>
                <a:cs typeface="Times New Roman"/>
              </a:rPr>
              <a:t>300</a:t>
            </a:r>
            <a:r>
              <a:rPr sz="882" spc="-7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882" dirty="0">
                <a:solidFill>
                  <a:srgbClr val="FFFFFF"/>
                </a:solidFill>
                <a:latin typeface="Times New Roman"/>
                <a:cs typeface="Times New Roman"/>
              </a:rPr>
              <a:t>MWH</a:t>
            </a:r>
            <a:endParaRPr sz="882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2395369" y="3930575"/>
            <a:ext cx="1678193" cy="102601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2391336" y="3923852"/>
            <a:ext cx="642769" cy="1039458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2529380" y="4369835"/>
            <a:ext cx="369794" cy="133528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794" spc="4" dirty="0">
                <a:solidFill>
                  <a:srgbClr val="FFFFFF"/>
                </a:solidFill>
                <a:latin typeface="Times New Roman"/>
                <a:cs typeface="Times New Roman"/>
              </a:rPr>
              <a:t>N</a:t>
            </a:r>
            <a:r>
              <a:rPr sz="794" spc="154" dirty="0">
                <a:solidFill>
                  <a:srgbClr val="FFFFFF"/>
                </a:solidFill>
                <a:latin typeface="Times New Roman"/>
                <a:cs typeface="Times New Roman"/>
              </a:rPr>
              <a:t>e</a:t>
            </a:r>
            <a:r>
              <a:rPr sz="794" spc="-13" dirty="0">
                <a:solidFill>
                  <a:srgbClr val="FFFFFF"/>
                </a:solidFill>
                <a:latin typeface="Times New Roman"/>
                <a:cs typeface="Times New Roman"/>
              </a:rPr>
              <a:t>r</a:t>
            </a:r>
            <a:r>
              <a:rPr sz="794" spc="35" dirty="0">
                <a:solidFill>
                  <a:srgbClr val="FFFFFF"/>
                </a:solidFill>
                <a:latin typeface="Times New Roman"/>
                <a:cs typeface="Times New Roman"/>
              </a:rPr>
              <a:t>s</a:t>
            </a:r>
            <a:r>
              <a:rPr sz="794" spc="172" dirty="0">
                <a:solidFill>
                  <a:srgbClr val="FFFFFF"/>
                </a:solidFill>
                <a:latin typeface="Times New Roman"/>
                <a:cs typeface="Times New Roman"/>
              </a:rPr>
              <a:t>a</a:t>
            </a:r>
            <a:r>
              <a:rPr sz="794" spc="154" dirty="0">
                <a:solidFill>
                  <a:srgbClr val="FFFFFF"/>
                </a:solidFill>
                <a:latin typeface="Times New Roman"/>
                <a:cs typeface="Times New Roman"/>
              </a:rPr>
              <a:t>c</a:t>
            </a:r>
            <a:endParaRPr sz="794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30" name="object 30"/>
          <p:cNvSpPr txBox="1">
            <a:spLocks noGrp="1"/>
          </p:cNvSpPr>
          <p:nvPr>
            <p:ph type="ftr" sz="quarter" idx="5"/>
          </p:nvPr>
        </p:nvSpPr>
        <p:spPr>
          <a:xfrm>
            <a:off x="1266642" y="6156040"/>
            <a:ext cx="831273" cy="2172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fr-FR"/>
            </a:defPPr>
            <a:lvl1pPr marL="0" algn="l" defTabSz="457200" rtl="0" eaLnBrk="1" latinLnBrk="0" hangingPunct="1">
              <a:defRPr sz="706" b="0" i="0" kern="1200">
                <a:solidFill>
                  <a:schemeClr val="tx1"/>
                </a:solidFill>
                <a:latin typeface="Times New Roman"/>
                <a:ea typeface="+mn-ea"/>
                <a:cs typeface="Times New Roman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206" marR="4483" defTabSz="806867">
              <a:spcBef>
                <a:spcPts val="13"/>
              </a:spcBef>
            </a:pPr>
            <a:r>
              <a:rPr lang="sv-SE" spc="-26"/>
              <a:t>EVOLIS- </a:t>
            </a:r>
            <a:r>
              <a:rPr lang="sv-SE" spc="35"/>
              <a:t>Saft  </a:t>
            </a:r>
            <a:r>
              <a:rPr lang="sv-SE" spc="22"/>
              <a:t>6-7 </a:t>
            </a:r>
            <a:r>
              <a:rPr lang="sv-SE" spc="31"/>
              <a:t>NOV</a:t>
            </a:r>
            <a:r>
              <a:rPr lang="sv-SE" spc="-62"/>
              <a:t> </a:t>
            </a:r>
            <a:r>
              <a:rPr lang="sv-SE" spc="31"/>
              <a:t>2019</a:t>
            </a:r>
            <a:endParaRPr spc="31" dirty="0">
              <a:solidFill>
                <a:prstClr val="black"/>
              </a:solidFill>
            </a:endParaRPr>
          </a:p>
        </p:txBody>
      </p:sp>
      <p:sp>
        <p:nvSpPr>
          <p:cNvPr id="31" name="object 31"/>
          <p:cNvSpPr txBox="1">
            <a:spLocks noGrp="1"/>
          </p:cNvSpPr>
          <p:nvPr>
            <p:ph type="sldNum" sz="quarter" idx="7"/>
          </p:nvPr>
        </p:nvSpPr>
        <p:spPr>
          <a:xfrm>
            <a:off x="907638" y="6143984"/>
            <a:ext cx="215515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fr-FR"/>
            </a:defPPr>
            <a:lvl1pPr marL="0" algn="l" defTabSz="457200" rtl="0" eaLnBrk="1" latinLnBrk="0" hangingPunct="1">
              <a:defRPr sz="1588" b="0" i="0" kern="1200">
                <a:solidFill>
                  <a:schemeClr val="tx1"/>
                </a:solidFill>
                <a:latin typeface="Times New Roman"/>
                <a:ea typeface="+mn-ea"/>
                <a:cs typeface="Times New Roman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9955" defTabSz="806867">
              <a:lnSpc>
                <a:spcPts val="1244"/>
              </a:lnSpc>
            </a:pPr>
            <a:fld id="{81D60167-4931-47E6-BA6A-407CBD079E47}" type="slidenum">
              <a:rPr lang="fr-FR" sz="1059" spc="53" smtClean="0"/>
              <a:pPr marL="59955">
                <a:lnSpc>
                  <a:spcPts val="1244"/>
                </a:lnSpc>
              </a:pPr>
              <a:t>2</a:t>
            </a:fld>
            <a:endParaRPr sz="1059">
              <a:solidFill>
                <a:prstClr val="black"/>
              </a:solidFill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5018449" y="6185411"/>
            <a:ext cx="2066925" cy="1222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206" defTabSz="806867"/>
            <a:r>
              <a:rPr sz="794" spc="40" dirty="0">
                <a:solidFill>
                  <a:prstClr val="black"/>
                </a:solidFill>
                <a:latin typeface="Times New Roman"/>
                <a:cs typeface="Times New Roman"/>
              </a:rPr>
              <a:t>Saft </a:t>
            </a:r>
            <a:r>
              <a:rPr sz="794" spc="62" dirty="0">
                <a:solidFill>
                  <a:prstClr val="black"/>
                </a:solidFill>
                <a:latin typeface="Times New Roman"/>
                <a:cs typeface="Times New Roman"/>
              </a:rPr>
              <a:t>proprietary </a:t>
            </a:r>
            <a:r>
              <a:rPr sz="794" spc="53" dirty="0">
                <a:solidFill>
                  <a:prstClr val="black"/>
                </a:solidFill>
                <a:latin typeface="Times New Roman"/>
                <a:cs typeface="Times New Roman"/>
              </a:rPr>
              <a:t>information </a:t>
            </a:r>
            <a:r>
              <a:rPr sz="794" dirty="0">
                <a:solidFill>
                  <a:prstClr val="black"/>
                </a:solidFill>
                <a:latin typeface="Times New Roman"/>
                <a:cs typeface="Times New Roman"/>
              </a:rPr>
              <a:t>–</a:t>
            </a:r>
            <a:r>
              <a:rPr sz="794" spc="-101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794" spc="62" dirty="0">
                <a:solidFill>
                  <a:prstClr val="black"/>
                </a:solidFill>
                <a:latin typeface="Times New Roman"/>
                <a:cs typeface="Times New Roman"/>
              </a:rPr>
              <a:t>Confidential</a:t>
            </a:r>
            <a:endParaRPr sz="794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073563" y="3929231"/>
            <a:ext cx="1938057" cy="991497"/>
          </a:xfrm>
          <a:prstGeom prst="rect">
            <a:avLst/>
          </a:prstGeom>
          <a:solidFill>
            <a:srgbClr val="9A6EA8"/>
          </a:solidFill>
        </p:spPr>
        <p:txBody>
          <a:bodyPr vert="horz" wrap="square" lIns="0" tIns="40901" rIns="0" bIns="0" rtlCol="0">
            <a:spAutoFit/>
          </a:bodyPr>
          <a:lstStyle/>
          <a:p>
            <a:pPr marL="80126" marR="74523" algn="just" defTabSz="806867">
              <a:spcBef>
                <a:spcPts val="322"/>
              </a:spcBef>
            </a:pPr>
            <a:r>
              <a:rPr sz="882" spc="9" dirty="0">
                <a:solidFill>
                  <a:srgbClr val="FFFFFF"/>
                </a:solidFill>
                <a:latin typeface="Times New Roman"/>
                <a:cs typeface="Times New Roman"/>
              </a:rPr>
              <a:t>En </a:t>
            </a:r>
            <a:r>
              <a:rPr sz="882" spc="35" dirty="0">
                <a:solidFill>
                  <a:srgbClr val="FFFFFF"/>
                </a:solidFill>
                <a:latin typeface="Times New Roman"/>
                <a:cs typeface="Times New Roman"/>
              </a:rPr>
              <a:t>2008, </a:t>
            </a:r>
            <a:r>
              <a:rPr sz="882" spc="88" dirty="0">
                <a:solidFill>
                  <a:srgbClr val="FFFFFF"/>
                </a:solidFill>
                <a:latin typeface="Times New Roman"/>
                <a:cs typeface="Times New Roman"/>
              </a:rPr>
              <a:t>Nersac </a:t>
            </a:r>
            <a:r>
              <a:rPr sz="882" spc="75" dirty="0">
                <a:solidFill>
                  <a:srgbClr val="FFFFFF"/>
                </a:solidFill>
                <a:latin typeface="Times New Roman"/>
                <a:cs typeface="Times New Roman"/>
              </a:rPr>
              <a:t>est </a:t>
            </a:r>
            <a:r>
              <a:rPr sz="882" spc="57" dirty="0">
                <a:solidFill>
                  <a:srgbClr val="FFFFFF"/>
                </a:solidFill>
                <a:latin typeface="Times New Roman"/>
                <a:cs typeface="Times New Roman"/>
              </a:rPr>
              <a:t>le </a:t>
            </a:r>
            <a:r>
              <a:rPr sz="882" spc="49" dirty="0">
                <a:solidFill>
                  <a:srgbClr val="FFFFFF"/>
                </a:solidFill>
                <a:latin typeface="Times New Roman"/>
                <a:cs typeface="Times New Roman"/>
              </a:rPr>
              <a:t>1</a:t>
            </a:r>
            <a:r>
              <a:rPr sz="860" spc="72" baseline="25641" dirty="0">
                <a:solidFill>
                  <a:srgbClr val="FFFFFF"/>
                </a:solidFill>
                <a:latin typeface="Times New Roman"/>
                <a:cs typeface="Times New Roman"/>
              </a:rPr>
              <a:t>er </a:t>
            </a:r>
            <a:r>
              <a:rPr sz="882" spc="40" dirty="0">
                <a:solidFill>
                  <a:srgbClr val="FFFFFF"/>
                </a:solidFill>
                <a:latin typeface="Times New Roman"/>
                <a:cs typeface="Times New Roman"/>
              </a:rPr>
              <a:t>site </a:t>
            </a:r>
            <a:r>
              <a:rPr sz="882" spc="150" dirty="0">
                <a:solidFill>
                  <a:srgbClr val="FFFFFF"/>
                </a:solidFill>
                <a:latin typeface="Times New Roman"/>
                <a:cs typeface="Times New Roman"/>
              </a:rPr>
              <a:t>au  </a:t>
            </a:r>
            <a:r>
              <a:rPr sz="882" spc="137" dirty="0">
                <a:solidFill>
                  <a:srgbClr val="FFFFFF"/>
                </a:solidFill>
                <a:latin typeface="Times New Roman"/>
                <a:cs typeface="Times New Roman"/>
              </a:rPr>
              <a:t>monde </a:t>
            </a:r>
            <a:r>
              <a:rPr sz="882" spc="207" dirty="0">
                <a:solidFill>
                  <a:srgbClr val="FFFFFF"/>
                </a:solidFill>
                <a:latin typeface="Times New Roman"/>
                <a:cs typeface="Times New Roman"/>
              </a:rPr>
              <a:t>à </a:t>
            </a:r>
            <a:r>
              <a:rPr sz="882" spc="57" dirty="0">
                <a:solidFill>
                  <a:srgbClr val="FFFFFF"/>
                </a:solidFill>
                <a:latin typeface="Times New Roman"/>
                <a:cs typeface="Times New Roman"/>
              </a:rPr>
              <a:t>avoir </a:t>
            </a:r>
            <a:r>
              <a:rPr sz="882" spc="97" dirty="0">
                <a:solidFill>
                  <a:srgbClr val="FFFFFF"/>
                </a:solidFill>
                <a:latin typeface="Times New Roman"/>
                <a:cs typeface="Times New Roman"/>
              </a:rPr>
              <a:t>adressé </a:t>
            </a:r>
            <a:r>
              <a:rPr sz="882" spc="154" dirty="0">
                <a:solidFill>
                  <a:srgbClr val="FFFFFF"/>
                </a:solidFill>
                <a:latin typeface="Times New Roman"/>
                <a:cs typeface="Times New Roman"/>
              </a:rPr>
              <a:t>au  </a:t>
            </a:r>
            <a:r>
              <a:rPr sz="882" spc="128" dirty="0">
                <a:solidFill>
                  <a:srgbClr val="FFFFFF"/>
                </a:solidFill>
                <a:latin typeface="Times New Roman"/>
                <a:cs typeface="Times New Roman"/>
              </a:rPr>
              <a:t>marché </a:t>
            </a:r>
            <a:r>
              <a:rPr sz="882" spc="168" dirty="0">
                <a:solidFill>
                  <a:srgbClr val="FFFFFF"/>
                </a:solidFill>
                <a:latin typeface="Times New Roman"/>
                <a:cs typeface="Times New Roman"/>
              </a:rPr>
              <a:t>de </a:t>
            </a:r>
            <a:r>
              <a:rPr sz="882" spc="75" dirty="0">
                <a:solidFill>
                  <a:srgbClr val="FFFFFF"/>
                </a:solidFill>
                <a:latin typeface="Times New Roman"/>
                <a:cs typeface="Times New Roman"/>
              </a:rPr>
              <a:t>l’automobile </a:t>
            </a:r>
            <a:r>
              <a:rPr sz="882" spc="110" dirty="0">
                <a:solidFill>
                  <a:srgbClr val="FFFFFF"/>
                </a:solidFill>
                <a:latin typeface="Times New Roman"/>
                <a:cs typeface="Times New Roman"/>
              </a:rPr>
              <a:t>des  </a:t>
            </a:r>
            <a:r>
              <a:rPr sz="882" spc="75" dirty="0">
                <a:solidFill>
                  <a:srgbClr val="FFFFFF"/>
                </a:solidFill>
                <a:latin typeface="Times New Roman"/>
                <a:cs typeface="Times New Roman"/>
              </a:rPr>
              <a:t>batteries.</a:t>
            </a:r>
            <a:endParaRPr sz="882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defTabSz="806867">
              <a:spcBef>
                <a:spcPts val="44"/>
              </a:spcBef>
            </a:pPr>
            <a:endParaRPr sz="882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80126" marR="529506" defTabSz="806867"/>
            <a:r>
              <a:rPr sz="882" spc="26" dirty="0">
                <a:solidFill>
                  <a:srgbClr val="FFFFFF"/>
                </a:solidFill>
                <a:latin typeface="Times New Roman"/>
                <a:cs typeface="Times New Roman"/>
              </a:rPr>
              <a:t>Site </a:t>
            </a:r>
            <a:r>
              <a:rPr sz="882" spc="49" dirty="0">
                <a:solidFill>
                  <a:srgbClr val="FFFFFF"/>
                </a:solidFill>
                <a:latin typeface="Times New Roman"/>
                <a:cs typeface="Times New Roman"/>
              </a:rPr>
              <a:t>qualifié </a:t>
            </a:r>
            <a:r>
              <a:rPr sz="882" spc="-18" dirty="0">
                <a:solidFill>
                  <a:srgbClr val="FFFFFF"/>
                </a:solidFill>
                <a:latin typeface="Times New Roman"/>
                <a:cs typeface="Times New Roman"/>
              </a:rPr>
              <a:t>ISO/TS </a:t>
            </a:r>
            <a:r>
              <a:rPr sz="882" spc="44" dirty="0">
                <a:solidFill>
                  <a:srgbClr val="FFFFFF"/>
                </a:solidFill>
                <a:latin typeface="Times New Roman"/>
                <a:cs typeface="Times New Roman"/>
              </a:rPr>
              <a:t>16949  </a:t>
            </a:r>
            <a:r>
              <a:rPr sz="882" spc="115" dirty="0">
                <a:solidFill>
                  <a:srgbClr val="FFFFFF"/>
                </a:solidFill>
                <a:latin typeface="Times New Roman"/>
                <a:cs typeface="Times New Roman"/>
              </a:rPr>
              <a:t>Capacité: </a:t>
            </a:r>
            <a:r>
              <a:rPr sz="882" spc="40" dirty="0">
                <a:solidFill>
                  <a:srgbClr val="FFFFFF"/>
                </a:solidFill>
                <a:latin typeface="Times New Roman"/>
                <a:cs typeface="Times New Roman"/>
              </a:rPr>
              <a:t>60</a:t>
            </a:r>
            <a:r>
              <a:rPr sz="882" spc="-84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882" spc="44" dirty="0">
                <a:solidFill>
                  <a:srgbClr val="FFFFFF"/>
                </a:solidFill>
                <a:latin typeface="Times New Roman"/>
                <a:cs typeface="Times New Roman"/>
              </a:rPr>
              <a:t>MWh</a:t>
            </a:r>
            <a:endParaRPr sz="882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2D3E2D5-318E-6D40-AA74-1880D6C6BCB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0436" y="1776984"/>
            <a:ext cx="11311128" cy="2913888"/>
          </a:xfrm>
        </p:spPr>
        <p:txBody>
          <a:bodyPr/>
          <a:lstStyle/>
          <a:p>
            <a:pPr>
              <a:tabLst>
                <a:tab pos="804863" algn="l"/>
              </a:tabLst>
            </a:pPr>
            <a:r>
              <a:rPr lang="fr-FR" sz="2800" b="1" dirty="0">
                <a:solidFill>
                  <a:schemeClr val="tx1"/>
                </a:solidFill>
              </a:rPr>
              <a:t> R.484 Portiques et ponts roulants</a:t>
            </a:r>
          </a:p>
          <a:p>
            <a:pPr marL="0" indent="0">
              <a:buNone/>
              <a:tabLst>
                <a:tab pos="804863" algn="l"/>
              </a:tabLst>
            </a:pPr>
            <a:endParaRPr lang="fr-FR" sz="2800" b="1" dirty="0">
              <a:solidFill>
                <a:schemeClr val="tx1"/>
              </a:solidFill>
            </a:endParaRPr>
          </a:p>
          <a:p>
            <a:pPr>
              <a:tabLst>
                <a:tab pos="712788" algn="l"/>
              </a:tabLst>
            </a:pPr>
            <a:r>
              <a:rPr lang="fr-FR" sz="2800" b="1" dirty="0">
                <a:solidFill>
                  <a:schemeClr val="tx1"/>
                </a:solidFill>
              </a:rPr>
              <a:t> </a:t>
            </a:r>
            <a:r>
              <a:rPr lang="fr-FR" sz="2800" b="1" dirty="0">
                <a:solidFill>
                  <a:srgbClr val="0070C0"/>
                </a:solidFill>
              </a:rPr>
              <a:t>R.485 Chariots automoteurs de manutention à conducteur 	accompagnant</a:t>
            </a:r>
          </a:p>
          <a:p>
            <a:pPr marL="0" indent="0">
              <a:buNone/>
            </a:pPr>
            <a:endParaRPr lang="fr-FR" sz="28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fr-FR" sz="2800" b="1" dirty="0">
              <a:solidFill>
                <a:schemeClr val="tx1"/>
              </a:solidFill>
            </a:endParaRPr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2769B9CB-AC49-4965-86F5-AAF8950E17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896" y="247997"/>
            <a:ext cx="8373291" cy="727869"/>
          </a:xfrm>
        </p:spPr>
        <p:txBody>
          <a:bodyPr/>
          <a:lstStyle/>
          <a:p>
            <a:r>
              <a:rPr lang="fr-FR" dirty="0"/>
              <a:t>2 recommandations créées</a:t>
            </a:r>
          </a:p>
        </p:txBody>
      </p:sp>
    </p:spTree>
    <p:extLst>
      <p:ext uri="{BB962C8B-B14F-4D97-AF65-F5344CB8AC3E}">
        <p14:creationId xmlns:p14="http://schemas.microsoft.com/office/powerpoint/2010/main" val="213577787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>
            <a:extLst>
              <a:ext uri="{FF2B5EF4-FFF2-40B4-BE49-F238E27FC236}">
                <a16:creationId xmlns:a16="http://schemas.microsoft.com/office/drawing/2014/main" id="{CBDB0F5E-AD72-445B-8B2F-7F11CCDBA1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5080" y="2460845"/>
            <a:ext cx="8373291" cy="968155"/>
          </a:xfrm>
        </p:spPr>
        <p:txBody>
          <a:bodyPr/>
          <a:lstStyle/>
          <a:p>
            <a:r>
              <a:rPr lang="fr-FR" dirty="0"/>
              <a:t>VALIDITÉ</a:t>
            </a:r>
          </a:p>
        </p:txBody>
      </p:sp>
    </p:spTree>
    <p:extLst>
      <p:ext uri="{BB962C8B-B14F-4D97-AF65-F5344CB8AC3E}">
        <p14:creationId xmlns:p14="http://schemas.microsoft.com/office/powerpoint/2010/main" val="195573813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2D3E2D5-318E-6D40-AA74-1880D6C6BCB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0436" y="2279904"/>
            <a:ext cx="11311128" cy="2913888"/>
          </a:xfrm>
        </p:spPr>
        <p:txBody>
          <a:bodyPr/>
          <a:lstStyle/>
          <a:p>
            <a:pPr>
              <a:tabLst>
                <a:tab pos="804863" algn="l"/>
              </a:tabLst>
            </a:pPr>
            <a:r>
              <a:rPr lang="fr-FR" sz="2800" b="1" dirty="0">
                <a:solidFill>
                  <a:schemeClr val="tx1"/>
                </a:solidFill>
              </a:rPr>
              <a:t> Réglementation versus recommandation</a:t>
            </a:r>
          </a:p>
          <a:p>
            <a:pPr marL="0" indent="0">
              <a:buNone/>
              <a:tabLst>
                <a:tab pos="804863" algn="l"/>
              </a:tabLst>
            </a:pPr>
            <a:endParaRPr lang="fr-FR" sz="2800" b="1" dirty="0">
              <a:solidFill>
                <a:schemeClr val="tx1"/>
              </a:solidFill>
            </a:endParaRPr>
          </a:p>
          <a:p>
            <a:pPr marL="0" indent="0">
              <a:buNone/>
              <a:tabLst>
                <a:tab pos="712788" algn="l"/>
              </a:tabLst>
            </a:pPr>
            <a:endParaRPr lang="fr-FR" sz="28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fr-FR" sz="2800" b="1" dirty="0">
              <a:solidFill>
                <a:schemeClr val="tx1"/>
              </a:solidFill>
            </a:endParaRPr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2769B9CB-AC49-4965-86F5-AAF8950E17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896" y="247997"/>
            <a:ext cx="8819080" cy="727869"/>
          </a:xfrm>
        </p:spPr>
        <p:txBody>
          <a:bodyPr/>
          <a:lstStyle/>
          <a:p>
            <a:r>
              <a:rPr lang="fr-FR" dirty="0"/>
              <a:t>Autorisation de conduite et CACES</a:t>
            </a:r>
          </a:p>
        </p:txBody>
      </p:sp>
    </p:spTree>
    <p:extLst>
      <p:ext uri="{BB962C8B-B14F-4D97-AF65-F5344CB8AC3E}">
        <p14:creationId xmlns:p14="http://schemas.microsoft.com/office/powerpoint/2010/main" val="20339806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2D3E2D5-318E-6D40-AA74-1880D6C6BCB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0436" y="2279904"/>
            <a:ext cx="11311128" cy="3297936"/>
          </a:xfrm>
        </p:spPr>
        <p:txBody>
          <a:bodyPr/>
          <a:lstStyle/>
          <a:p>
            <a:pPr>
              <a:tabLst>
                <a:tab pos="804863" algn="l"/>
              </a:tabLst>
            </a:pPr>
            <a:r>
              <a:rPr lang="fr-FR" sz="2800" b="1" dirty="0">
                <a:solidFill>
                  <a:schemeClr val="tx1"/>
                </a:solidFill>
              </a:rPr>
              <a:t> Rigueur accentuée dans la réalisation des tests</a:t>
            </a:r>
          </a:p>
          <a:p>
            <a:pPr>
              <a:tabLst>
                <a:tab pos="630238" algn="l"/>
              </a:tabLst>
            </a:pPr>
            <a:r>
              <a:rPr lang="fr-FR" sz="2800" b="1" dirty="0">
                <a:solidFill>
                  <a:schemeClr val="tx1"/>
                </a:solidFill>
              </a:rPr>
              <a:t> L’organisme testeur doit disposer d’un centre de 	déroulement des tests pour les épreuves théoriques et 	pratiques</a:t>
            </a:r>
          </a:p>
          <a:p>
            <a:pPr>
              <a:tabLst>
                <a:tab pos="630238" algn="l"/>
              </a:tabLst>
            </a:pPr>
            <a:r>
              <a:rPr lang="fr-FR" sz="2800" b="1" dirty="0">
                <a:solidFill>
                  <a:schemeClr val="tx1"/>
                </a:solidFill>
              </a:rPr>
              <a:t> Possibilité renforcée d’éliminer un candidat lors des 	 	épreuves pratiques</a:t>
            </a:r>
          </a:p>
          <a:p>
            <a:pPr marL="0" indent="0">
              <a:buNone/>
              <a:tabLst>
                <a:tab pos="804863" algn="l"/>
              </a:tabLst>
            </a:pPr>
            <a:endParaRPr lang="fr-FR" sz="2800" b="1" dirty="0">
              <a:solidFill>
                <a:schemeClr val="tx1"/>
              </a:solidFill>
            </a:endParaRPr>
          </a:p>
          <a:p>
            <a:pPr marL="0" indent="0">
              <a:buNone/>
              <a:tabLst>
                <a:tab pos="712788" algn="l"/>
              </a:tabLst>
            </a:pPr>
            <a:endParaRPr lang="fr-FR" sz="28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fr-FR" sz="2800" b="1" dirty="0">
              <a:solidFill>
                <a:schemeClr val="tx1"/>
              </a:solidFill>
            </a:endParaRPr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2769B9CB-AC49-4965-86F5-AAF8950E17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896" y="247997"/>
            <a:ext cx="8819080" cy="727869"/>
          </a:xfrm>
        </p:spPr>
        <p:txBody>
          <a:bodyPr/>
          <a:lstStyle/>
          <a:p>
            <a:r>
              <a:rPr lang="fr-FR" dirty="0"/>
              <a:t>Evolution des nouveaux CACES</a:t>
            </a:r>
          </a:p>
        </p:txBody>
      </p:sp>
    </p:spTree>
    <p:extLst>
      <p:ext uri="{BB962C8B-B14F-4D97-AF65-F5344CB8AC3E}">
        <p14:creationId xmlns:p14="http://schemas.microsoft.com/office/powerpoint/2010/main" val="35241117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>
            <a:extLst>
              <a:ext uri="{FF2B5EF4-FFF2-40B4-BE49-F238E27FC236}">
                <a16:creationId xmlns:a16="http://schemas.microsoft.com/office/drawing/2014/main" id="{CBDB0F5E-AD72-445B-8B2F-7F11CCDBA1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336" y="1281269"/>
            <a:ext cx="11137392" cy="3519331"/>
          </a:xfrm>
        </p:spPr>
        <p:txBody>
          <a:bodyPr/>
          <a:lstStyle/>
          <a:p>
            <a:r>
              <a:rPr lang="fr-FR" dirty="0"/>
              <a:t>Souhait de développer une banque de données pour les épreuves théoriques à l’image de ce qui existe pour </a:t>
            </a:r>
            <a:br>
              <a:rPr lang="fr-FR" dirty="0"/>
            </a:br>
            <a:r>
              <a:rPr lang="fr-FR" dirty="0"/>
              <a:t>le code de la route</a:t>
            </a:r>
          </a:p>
        </p:txBody>
      </p:sp>
    </p:spTree>
    <p:extLst>
      <p:ext uri="{BB962C8B-B14F-4D97-AF65-F5344CB8AC3E}">
        <p14:creationId xmlns:p14="http://schemas.microsoft.com/office/powerpoint/2010/main" val="346469265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2D3E2D5-318E-6D40-AA74-1880D6C6BCB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0436" y="2540093"/>
            <a:ext cx="11311128" cy="1885603"/>
          </a:xfrm>
        </p:spPr>
        <p:txBody>
          <a:bodyPr/>
          <a:lstStyle/>
          <a:p>
            <a:pPr>
              <a:tabLst>
                <a:tab pos="630238" algn="l"/>
              </a:tabLst>
            </a:pPr>
            <a:r>
              <a:rPr lang="fr-FR" sz="2800" b="1" dirty="0">
                <a:solidFill>
                  <a:schemeClr val="tx1"/>
                </a:solidFill>
              </a:rPr>
              <a:t> Déplacement, chargement/déchargement, transfert sans 	activité de production pour maintenance, démonstration, 	essais </a:t>
            </a:r>
          </a:p>
          <a:p>
            <a:pPr marL="0" indent="0">
              <a:buNone/>
              <a:tabLst>
                <a:tab pos="712788" algn="l"/>
              </a:tabLst>
            </a:pPr>
            <a:endParaRPr lang="fr-FR" sz="28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fr-FR" sz="2800" b="1" dirty="0">
              <a:solidFill>
                <a:schemeClr val="tx1"/>
              </a:solidFill>
            </a:endParaRPr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2769B9CB-AC49-4965-86F5-AAF8950E17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872" y="247997"/>
            <a:ext cx="8933688" cy="1388779"/>
          </a:xfrm>
        </p:spPr>
        <p:txBody>
          <a:bodyPr/>
          <a:lstStyle/>
          <a:p>
            <a:r>
              <a:rPr lang="fr-FR" dirty="0"/>
              <a:t>Mise en place d’une catégorie conduite hors production</a:t>
            </a:r>
          </a:p>
        </p:txBody>
      </p:sp>
    </p:spTree>
    <p:extLst>
      <p:ext uri="{BB962C8B-B14F-4D97-AF65-F5344CB8AC3E}">
        <p14:creationId xmlns:p14="http://schemas.microsoft.com/office/powerpoint/2010/main" val="40864790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7F55CD0-E839-634D-941A-E69FAF5E4E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1101" y="3004459"/>
            <a:ext cx="8373291" cy="653214"/>
          </a:xfrm>
        </p:spPr>
        <p:txBody>
          <a:bodyPr/>
          <a:lstStyle/>
          <a:p>
            <a:r>
              <a:rPr lang="fr-FR" dirty="0"/>
              <a:t>Tirages au sort et jeu concours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B22C2AD3-EE98-47C9-8078-936EADA6B67F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1472" y="883375"/>
            <a:ext cx="2419350" cy="188595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86032071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F0981BB-F2B9-B545-AD58-82D1842DAD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b="1" dirty="0"/>
              <a:t>critères</a:t>
            </a:r>
          </a:p>
          <a:p>
            <a:endParaRPr lang="fr-FR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EB8B8B16-F037-7D48-AFB5-1405DC9486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8377"/>
            <a:ext cx="9039497" cy="6296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47869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395318C7-2718-8A49-9BA6-51BC19F6D2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10617" cy="6309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47150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>
            <a:extLst>
              <a:ext uri="{FF2B5EF4-FFF2-40B4-BE49-F238E27FC236}">
                <a16:creationId xmlns:a16="http://schemas.microsoft.com/office/drawing/2014/main" id="{20452463-69D8-EA4E-B3A5-46D759E20C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072517" cy="6244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6894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061883" y="1011218"/>
            <a:ext cx="8068235" cy="10085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9570720" y="6154718"/>
            <a:ext cx="145228" cy="9412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9793941" y="6173545"/>
            <a:ext cx="48745" cy="75640"/>
          </a:xfrm>
          <a:custGeom>
            <a:avLst/>
            <a:gdLst/>
            <a:ahLst/>
            <a:cxnLst/>
            <a:rect l="l" t="t" r="r" b="b"/>
            <a:pathLst>
              <a:path w="55245" h="85725">
                <a:moveTo>
                  <a:pt x="0" y="0"/>
                </a:moveTo>
                <a:lnTo>
                  <a:pt x="54864" y="0"/>
                </a:lnTo>
                <a:lnTo>
                  <a:pt x="54864" y="85344"/>
                </a:lnTo>
                <a:lnTo>
                  <a:pt x="0" y="85344"/>
                </a:lnTo>
                <a:lnTo>
                  <a:pt x="0" y="0"/>
                </a:lnTo>
                <a:close/>
              </a:path>
            </a:pathLst>
          </a:custGeom>
          <a:solidFill>
            <a:srgbClr val="C11F2D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9740153" y="6164804"/>
            <a:ext cx="156322" cy="0"/>
          </a:xfrm>
          <a:custGeom>
            <a:avLst/>
            <a:gdLst/>
            <a:ahLst/>
            <a:cxnLst/>
            <a:rect l="l" t="t" r="r" b="b"/>
            <a:pathLst>
              <a:path w="177165">
                <a:moveTo>
                  <a:pt x="0" y="0"/>
                </a:moveTo>
                <a:lnTo>
                  <a:pt x="176784" y="0"/>
                </a:lnTo>
              </a:path>
            </a:pathLst>
          </a:custGeom>
          <a:ln w="22860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9194201" y="6154718"/>
            <a:ext cx="151952" cy="9412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9373048" y="6154718"/>
            <a:ext cx="160020" cy="9412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9194202" y="6312722"/>
            <a:ext cx="705971" cy="0"/>
          </a:xfrm>
          <a:custGeom>
            <a:avLst/>
            <a:gdLst/>
            <a:ahLst/>
            <a:cxnLst/>
            <a:rect l="l" t="t" r="r" b="b"/>
            <a:pathLst>
              <a:path w="800100">
                <a:moveTo>
                  <a:pt x="0" y="0"/>
                </a:moveTo>
                <a:lnTo>
                  <a:pt x="800100" y="0"/>
                </a:lnTo>
              </a:path>
            </a:pathLst>
          </a:custGeom>
          <a:ln w="53340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2538581" y="6196405"/>
            <a:ext cx="0" cy="118782"/>
          </a:xfrm>
          <a:custGeom>
            <a:avLst/>
            <a:gdLst/>
            <a:ahLst/>
            <a:cxnLst/>
            <a:rect l="l" t="t" r="r" b="b"/>
            <a:pathLst>
              <a:path h="134620">
                <a:moveTo>
                  <a:pt x="0" y="0"/>
                </a:moveTo>
                <a:lnTo>
                  <a:pt x="0" y="134112"/>
                </a:lnTo>
              </a:path>
            </a:pathLst>
          </a:custGeom>
          <a:ln w="10668">
            <a:solidFill>
              <a:srgbClr val="595959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538581" y="6094207"/>
            <a:ext cx="0" cy="159124"/>
          </a:xfrm>
          <a:custGeom>
            <a:avLst/>
            <a:gdLst/>
            <a:ahLst/>
            <a:cxnLst/>
            <a:rect l="l" t="t" r="r" b="b"/>
            <a:pathLst>
              <a:path h="180340">
                <a:moveTo>
                  <a:pt x="0" y="0"/>
                </a:moveTo>
                <a:lnTo>
                  <a:pt x="0" y="179832"/>
                </a:lnTo>
              </a:path>
            </a:pathLst>
          </a:custGeom>
          <a:ln w="10668">
            <a:solidFill>
              <a:srgbClr val="008EC1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2401605" y="569749"/>
            <a:ext cx="1518397" cy="309421"/>
          </a:xfrm>
          <a:prstGeom prst="rect">
            <a:avLst/>
          </a:prstGeom>
        </p:spPr>
        <p:txBody>
          <a:bodyPr vert="horz" wrap="square" lIns="0" tIns="10646" rIns="0" bIns="0" rtlCol="0">
            <a:spAutoFit/>
          </a:bodyPr>
          <a:lstStyle/>
          <a:p>
            <a:pPr marL="11206">
              <a:spcBef>
                <a:spcPts val="84"/>
              </a:spcBef>
            </a:pPr>
            <a:r>
              <a:rPr sz="1941" spc="71" dirty="0">
                <a:solidFill>
                  <a:srgbClr val="9A6EA8"/>
                </a:solidFill>
              </a:rPr>
              <a:t>Unité</a:t>
            </a:r>
            <a:r>
              <a:rPr sz="1941" spc="31" dirty="0">
                <a:solidFill>
                  <a:srgbClr val="9A6EA8"/>
                </a:solidFill>
              </a:rPr>
              <a:t> </a:t>
            </a:r>
            <a:r>
              <a:rPr sz="1941" spc="35" dirty="0">
                <a:solidFill>
                  <a:srgbClr val="9A6EA8"/>
                </a:solidFill>
              </a:rPr>
              <a:t>Lithium</a:t>
            </a:r>
            <a:endParaRPr sz="1941"/>
          </a:p>
        </p:txBody>
      </p:sp>
      <p:sp>
        <p:nvSpPr>
          <p:cNvPr id="12" name="object 12"/>
          <p:cNvSpPr/>
          <p:nvPr/>
        </p:nvSpPr>
        <p:spPr>
          <a:xfrm>
            <a:off x="4489077" y="2397611"/>
            <a:ext cx="1461806" cy="0"/>
          </a:xfrm>
          <a:custGeom>
            <a:avLst/>
            <a:gdLst/>
            <a:ahLst/>
            <a:cxnLst/>
            <a:rect l="l" t="t" r="r" b="b"/>
            <a:pathLst>
              <a:path w="1656714">
                <a:moveTo>
                  <a:pt x="0" y="0"/>
                </a:moveTo>
                <a:lnTo>
                  <a:pt x="1656588" y="0"/>
                </a:lnTo>
              </a:path>
            </a:pathLst>
          </a:custGeom>
          <a:ln w="57912">
            <a:solidFill>
              <a:srgbClr val="008EC1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body" idx="1"/>
          </p:nvPr>
        </p:nvSpPr>
        <p:spPr>
          <a:xfrm>
            <a:off x="4084495" y="1890903"/>
            <a:ext cx="5905599" cy="2704028"/>
          </a:xfrm>
          <a:prstGeom prst="rect">
            <a:avLst/>
          </a:prstGeom>
        </p:spPr>
        <p:txBody>
          <a:bodyPr vert="horz" wrap="square" lIns="0" tIns="11766" rIns="0" bIns="0" rtlCol="0">
            <a:spAutoFit/>
          </a:bodyPr>
          <a:lstStyle/>
          <a:p>
            <a:pPr marL="848891">
              <a:spcBef>
                <a:spcPts val="93"/>
              </a:spcBef>
            </a:pPr>
            <a:r>
              <a:rPr spc="71" dirty="0"/>
              <a:t>Principales</a:t>
            </a:r>
            <a:r>
              <a:rPr spc="-4" dirty="0"/>
              <a:t> </a:t>
            </a:r>
            <a:r>
              <a:rPr spc="93" dirty="0"/>
              <a:t>applications</a:t>
            </a:r>
          </a:p>
          <a:p>
            <a:pPr marL="759799">
              <a:spcBef>
                <a:spcPts val="40"/>
              </a:spcBef>
            </a:pPr>
            <a:endParaRPr sz="1500"/>
          </a:p>
          <a:p>
            <a:pPr marL="771006"/>
            <a:r>
              <a:rPr spc="53" dirty="0">
                <a:solidFill>
                  <a:srgbClr val="000000"/>
                </a:solidFill>
              </a:rPr>
              <a:t>Saft</a:t>
            </a:r>
            <a:r>
              <a:rPr spc="26" dirty="0">
                <a:solidFill>
                  <a:srgbClr val="000000"/>
                </a:solidFill>
              </a:rPr>
              <a:t> </a:t>
            </a:r>
            <a:r>
              <a:rPr spc="101" dirty="0">
                <a:solidFill>
                  <a:srgbClr val="000000"/>
                </a:solidFill>
              </a:rPr>
              <a:t>Nersac</a:t>
            </a:r>
            <a:r>
              <a:rPr spc="-18" dirty="0">
                <a:solidFill>
                  <a:srgbClr val="000000"/>
                </a:solidFill>
              </a:rPr>
              <a:t> </a:t>
            </a:r>
            <a:r>
              <a:rPr spc="18" dirty="0">
                <a:solidFill>
                  <a:srgbClr val="000000"/>
                </a:solidFill>
              </a:rPr>
              <a:t>Lithium </a:t>
            </a:r>
            <a:r>
              <a:rPr spc="97" dirty="0">
                <a:solidFill>
                  <a:srgbClr val="000000"/>
                </a:solidFill>
              </a:rPr>
              <a:t>se</a:t>
            </a:r>
            <a:r>
              <a:rPr spc="13" dirty="0">
                <a:solidFill>
                  <a:srgbClr val="000000"/>
                </a:solidFill>
              </a:rPr>
              <a:t> </a:t>
            </a:r>
            <a:r>
              <a:rPr spc="79" dirty="0">
                <a:solidFill>
                  <a:srgbClr val="000000"/>
                </a:solidFill>
              </a:rPr>
              <a:t>positionne</a:t>
            </a:r>
            <a:r>
              <a:rPr spc="35" dirty="0">
                <a:solidFill>
                  <a:srgbClr val="000000"/>
                </a:solidFill>
              </a:rPr>
              <a:t> </a:t>
            </a:r>
            <a:r>
              <a:rPr spc="22" dirty="0">
                <a:solidFill>
                  <a:srgbClr val="000000"/>
                </a:solidFill>
              </a:rPr>
              <a:t>sur</a:t>
            </a:r>
            <a:r>
              <a:rPr spc="-4" dirty="0">
                <a:solidFill>
                  <a:srgbClr val="000000"/>
                </a:solidFill>
              </a:rPr>
              <a:t> </a:t>
            </a:r>
            <a:r>
              <a:rPr spc="190" dirty="0">
                <a:solidFill>
                  <a:srgbClr val="000000"/>
                </a:solidFill>
              </a:rPr>
              <a:t>de</a:t>
            </a:r>
            <a:r>
              <a:rPr spc="13" dirty="0">
                <a:solidFill>
                  <a:srgbClr val="000000"/>
                </a:solidFill>
              </a:rPr>
              <a:t> </a:t>
            </a:r>
            <a:r>
              <a:rPr spc="115" dirty="0">
                <a:solidFill>
                  <a:srgbClr val="000000"/>
                </a:solidFill>
              </a:rPr>
              <a:t>nouveaux</a:t>
            </a:r>
            <a:r>
              <a:rPr spc="-4" dirty="0">
                <a:solidFill>
                  <a:srgbClr val="000000"/>
                </a:solidFill>
              </a:rPr>
              <a:t> </a:t>
            </a:r>
            <a:r>
              <a:rPr spc="124" dirty="0">
                <a:solidFill>
                  <a:srgbClr val="000000"/>
                </a:solidFill>
              </a:rPr>
              <a:t>marchés</a:t>
            </a:r>
            <a:r>
              <a:rPr spc="4" dirty="0">
                <a:solidFill>
                  <a:srgbClr val="000000"/>
                </a:solidFill>
              </a:rPr>
              <a:t> </a:t>
            </a:r>
            <a:r>
              <a:rPr spc="172" dirty="0">
                <a:solidFill>
                  <a:srgbClr val="000000"/>
                </a:solidFill>
              </a:rPr>
              <a:t>comme</a:t>
            </a:r>
            <a:r>
              <a:rPr spc="22" dirty="0">
                <a:solidFill>
                  <a:srgbClr val="000000"/>
                </a:solidFill>
              </a:rPr>
              <a:t> </a:t>
            </a:r>
            <a:r>
              <a:rPr spc="-4" dirty="0">
                <a:solidFill>
                  <a:srgbClr val="000000"/>
                </a:solidFill>
              </a:rPr>
              <a:t>:</a:t>
            </a:r>
          </a:p>
          <a:p>
            <a:pPr marL="771006" marR="1922472">
              <a:lnSpc>
                <a:spcPct val="200000"/>
              </a:lnSpc>
              <a:spcBef>
                <a:spcPts val="529"/>
              </a:spcBef>
            </a:pPr>
            <a:r>
              <a:rPr spc="22" dirty="0">
                <a:solidFill>
                  <a:srgbClr val="112F52"/>
                </a:solidFill>
              </a:rPr>
              <a:t>Les </a:t>
            </a:r>
            <a:r>
              <a:rPr spc="97" dirty="0">
                <a:solidFill>
                  <a:srgbClr val="112F52"/>
                </a:solidFill>
              </a:rPr>
              <a:t>systèmes</a:t>
            </a:r>
            <a:r>
              <a:rPr spc="26" dirty="0">
                <a:solidFill>
                  <a:srgbClr val="112F52"/>
                </a:solidFill>
              </a:rPr>
              <a:t> </a:t>
            </a:r>
            <a:r>
              <a:rPr spc="172" dirty="0">
                <a:solidFill>
                  <a:srgbClr val="112F52"/>
                </a:solidFill>
              </a:rPr>
              <a:t>de</a:t>
            </a:r>
            <a:r>
              <a:rPr spc="9" dirty="0">
                <a:solidFill>
                  <a:srgbClr val="112F52"/>
                </a:solidFill>
              </a:rPr>
              <a:t> </a:t>
            </a:r>
            <a:r>
              <a:rPr spc="128" dirty="0">
                <a:solidFill>
                  <a:srgbClr val="112F52"/>
                </a:solidFill>
              </a:rPr>
              <a:t>stockage</a:t>
            </a:r>
            <a:r>
              <a:rPr spc="-13" dirty="0">
                <a:solidFill>
                  <a:srgbClr val="112F52"/>
                </a:solidFill>
              </a:rPr>
              <a:t> </a:t>
            </a:r>
            <a:r>
              <a:rPr spc="97" dirty="0">
                <a:solidFill>
                  <a:srgbClr val="112F52"/>
                </a:solidFill>
              </a:rPr>
              <a:t>d’énergie  </a:t>
            </a:r>
            <a:r>
              <a:rPr spc="18" dirty="0">
                <a:solidFill>
                  <a:srgbClr val="112F52"/>
                </a:solidFill>
              </a:rPr>
              <a:t>La </a:t>
            </a:r>
            <a:r>
              <a:rPr spc="97" dirty="0">
                <a:solidFill>
                  <a:srgbClr val="112F52"/>
                </a:solidFill>
              </a:rPr>
              <a:t>marine </a:t>
            </a:r>
            <a:r>
              <a:rPr spc="53" dirty="0">
                <a:solidFill>
                  <a:srgbClr val="112F52"/>
                </a:solidFill>
              </a:rPr>
              <a:t>civile</a:t>
            </a:r>
            <a:r>
              <a:rPr spc="-53" dirty="0">
                <a:solidFill>
                  <a:srgbClr val="112F52"/>
                </a:solidFill>
              </a:rPr>
              <a:t> </a:t>
            </a:r>
            <a:r>
              <a:rPr dirty="0">
                <a:solidFill>
                  <a:srgbClr val="112F52"/>
                </a:solidFill>
              </a:rPr>
              <a:t>:</a:t>
            </a:r>
          </a:p>
          <a:p>
            <a:pPr marL="1408094" indent="-251585">
              <a:buClr>
                <a:srgbClr val="008EC1"/>
              </a:buClr>
              <a:buSzPct val="63636"/>
              <a:buChar char="•"/>
              <a:tabLst>
                <a:tab pos="1408655" algn="l"/>
                <a:tab pos="1409215" algn="l"/>
              </a:tabLst>
            </a:pPr>
            <a:r>
              <a:rPr spc="101" dirty="0">
                <a:solidFill>
                  <a:srgbClr val="112F52"/>
                </a:solidFill>
              </a:rPr>
              <a:t>Bateaux </a:t>
            </a:r>
            <a:r>
              <a:rPr spc="190" dirty="0">
                <a:solidFill>
                  <a:srgbClr val="112F52"/>
                </a:solidFill>
              </a:rPr>
              <a:t>de</a:t>
            </a:r>
            <a:r>
              <a:rPr spc="-97" dirty="0">
                <a:solidFill>
                  <a:srgbClr val="112F52"/>
                </a:solidFill>
              </a:rPr>
              <a:t> </a:t>
            </a:r>
            <a:r>
              <a:rPr spc="75" dirty="0">
                <a:solidFill>
                  <a:srgbClr val="112F52"/>
                </a:solidFill>
              </a:rPr>
              <a:t>servitude</a:t>
            </a:r>
          </a:p>
          <a:p>
            <a:pPr marL="1408094" indent="-251585">
              <a:buClr>
                <a:srgbClr val="008EC1"/>
              </a:buClr>
              <a:buSzPct val="63636"/>
              <a:buChar char="•"/>
              <a:tabLst>
                <a:tab pos="1408655" algn="l"/>
                <a:tab pos="1409215" algn="l"/>
              </a:tabLst>
            </a:pPr>
            <a:r>
              <a:rPr spc="26" dirty="0">
                <a:solidFill>
                  <a:srgbClr val="112F52"/>
                </a:solidFill>
              </a:rPr>
              <a:t>Ferries</a:t>
            </a:r>
          </a:p>
          <a:p>
            <a:pPr marL="1408094" indent="-251585">
              <a:buClr>
                <a:srgbClr val="008EC1"/>
              </a:buClr>
              <a:buSzPct val="63636"/>
              <a:buChar char="•"/>
              <a:tabLst>
                <a:tab pos="1408655" algn="l"/>
                <a:tab pos="1409215" algn="l"/>
              </a:tabLst>
            </a:pPr>
            <a:r>
              <a:rPr spc="101" dirty="0">
                <a:solidFill>
                  <a:srgbClr val="112F52"/>
                </a:solidFill>
              </a:rPr>
              <a:t>Bateaux</a:t>
            </a:r>
            <a:r>
              <a:rPr spc="-4" dirty="0">
                <a:solidFill>
                  <a:srgbClr val="112F52"/>
                </a:solidFill>
              </a:rPr>
              <a:t> </a:t>
            </a:r>
            <a:r>
              <a:rPr spc="66" dirty="0">
                <a:solidFill>
                  <a:srgbClr val="112F52"/>
                </a:solidFill>
              </a:rPr>
              <a:t>Offshore</a:t>
            </a:r>
            <a:r>
              <a:rPr dirty="0">
                <a:solidFill>
                  <a:srgbClr val="112F52"/>
                </a:solidFill>
              </a:rPr>
              <a:t> </a:t>
            </a:r>
            <a:r>
              <a:rPr spc="-22" dirty="0">
                <a:solidFill>
                  <a:srgbClr val="112F52"/>
                </a:solidFill>
              </a:rPr>
              <a:t>&amp;</a:t>
            </a:r>
            <a:r>
              <a:rPr spc="22" dirty="0">
                <a:solidFill>
                  <a:srgbClr val="112F52"/>
                </a:solidFill>
              </a:rPr>
              <a:t> </a:t>
            </a:r>
            <a:r>
              <a:rPr spc="141" dirty="0">
                <a:solidFill>
                  <a:srgbClr val="112F52"/>
                </a:solidFill>
              </a:rPr>
              <a:t>bateaux</a:t>
            </a:r>
            <a:r>
              <a:rPr spc="-9" dirty="0">
                <a:solidFill>
                  <a:srgbClr val="112F52"/>
                </a:solidFill>
              </a:rPr>
              <a:t> </a:t>
            </a:r>
            <a:r>
              <a:rPr spc="190" dirty="0">
                <a:solidFill>
                  <a:srgbClr val="112F52"/>
                </a:solidFill>
              </a:rPr>
              <a:t>de</a:t>
            </a:r>
            <a:r>
              <a:rPr spc="9" dirty="0">
                <a:solidFill>
                  <a:srgbClr val="112F52"/>
                </a:solidFill>
              </a:rPr>
              <a:t> </a:t>
            </a:r>
            <a:r>
              <a:rPr spc="53" dirty="0">
                <a:solidFill>
                  <a:srgbClr val="112F52"/>
                </a:solidFill>
              </a:rPr>
              <a:t>croisières</a:t>
            </a:r>
          </a:p>
          <a:p>
            <a:pPr marL="1408094" indent="-251585">
              <a:buClr>
                <a:srgbClr val="008EC1"/>
              </a:buClr>
              <a:buSzPct val="63636"/>
              <a:buChar char="•"/>
              <a:tabLst>
                <a:tab pos="1408655" algn="l"/>
                <a:tab pos="1409215" algn="l"/>
              </a:tabLst>
            </a:pPr>
            <a:r>
              <a:rPr spc="110" dirty="0">
                <a:solidFill>
                  <a:srgbClr val="112F52"/>
                </a:solidFill>
              </a:rPr>
              <a:t>Cargos</a:t>
            </a:r>
          </a:p>
          <a:p>
            <a:pPr marL="759799">
              <a:buClr>
                <a:srgbClr val="008EC1"/>
              </a:buClr>
              <a:buFont typeface="Times New Roman"/>
              <a:buChar char="•"/>
            </a:pPr>
            <a:endParaRPr sz="1015"/>
          </a:p>
          <a:p>
            <a:pPr marL="771006"/>
            <a:r>
              <a:rPr spc="18" dirty="0">
                <a:solidFill>
                  <a:srgbClr val="112F52"/>
                </a:solidFill>
              </a:rPr>
              <a:t>La </a:t>
            </a:r>
            <a:r>
              <a:rPr spc="66" dirty="0">
                <a:solidFill>
                  <a:srgbClr val="112F52"/>
                </a:solidFill>
              </a:rPr>
              <a:t>mobilité</a:t>
            </a:r>
            <a:r>
              <a:rPr spc="18" dirty="0">
                <a:solidFill>
                  <a:srgbClr val="112F52"/>
                </a:solidFill>
              </a:rPr>
              <a:t> </a:t>
            </a:r>
            <a:r>
              <a:rPr dirty="0">
                <a:solidFill>
                  <a:srgbClr val="112F52"/>
                </a:solidFill>
              </a:rPr>
              <a:t>:</a:t>
            </a:r>
          </a:p>
          <a:p>
            <a:pPr marL="1408094" indent="-251585">
              <a:buClr>
                <a:srgbClr val="008EC1"/>
              </a:buClr>
              <a:buSzPct val="63636"/>
              <a:buChar char="•"/>
              <a:tabLst>
                <a:tab pos="1408655" algn="l"/>
                <a:tab pos="1409215" algn="l"/>
              </a:tabLst>
            </a:pPr>
            <a:r>
              <a:rPr spc="71" dirty="0">
                <a:solidFill>
                  <a:srgbClr val="112F52"/>
                </a:solidFill>
              </a:rPr>
              <a:t>Véhicules</a:t>
            </a:r>
            <a:r>
              <a:rPr spc="-4" dirty="0">
                <a:solidFill>
                  <a:srgbClr val="112F52"/>
                </a:solidFill>
              </a:rPr>
              <a:t> </a:t>
            </a:r>
            <a:r>
              <a:rPr spc="75" dirty="0">
                <a:solidFill>
                  <a:srgbClr val="112F52"/>
                </a:solidFill>
              </a:rPr>
              <a:t>hybrides</a:t>
            </a:r>
          </a:p>
          <a:p>
            <a:pPr marL="1408094" indent="-251585">
              <a:buClr>
                <a:srgbClr val="008EC1"/>
              </a:buClr>
              <a:buSzPct val="63636"/>
              <a:buChar char="•"/>
              <a:tabLst>
                <a:tab pos="1408655" algn="l"/>
                <a:tab pos="1409215" algn="l"/>
              </a:tabLst>
            </a:pPr>
            <a:r>
              <a:rPr spc="4" dirty="0">
                <a:solidFill>
                  <a:srgbClr val="112F52"/>
                </a:solidFill>
              </a:rPr>
              <a:t>Bus</a:t>
            </a:r>
          </a:p>
          <a:p>
            <a:pPr marL="1408094" indent="-251585">
              <a:buClr>
                <a:srgbClr val="008EC1"/>
              </a:buClr>
              <a:buSzPct val="63636"/>
              <a:buChar char="•"/>
              <a:tabLst>
                <a:tab pos="1408655" algn="l"/>
                <a:tab pos="1409215" algn="l"/>
              </a:tabLst>
            </a:pPr>
            <a:r>
              <a:rPr spc="84" dirty="0">
                <a:solidFill>
                  <a:srgbClr val="112F52"/>
                </a:solidFill>
              </a:rPr>
              <a:t>Scooters</a:t>
            </a:r>
          </a:p>
          <a:p>
            <a:pPr marL="1408094" indent="-251585">
              <a:buClr>
                <a:srgbClr val="008EC1"/>
              </a:buClr>
              <a:buSzPct val="63636"/>
              <a:buChar char="•"/>
              <a:tabLst>
                <a:tab pos="1408655" algn="l"/>
                <a:tab pos="1409215" algn="l"/>
              </a:tabLst>
            </a:pPr>
            <a:r>
              <a:rPr spc="71" dirty="0">
                <a:solidFill>
                  <a:srgbClr val="112F52"/>
                </a:solidFill>
              </a:rPr>
              <a:t>Chariots</a:t>
            </a:r>
            <a:r>
              <a:rPr spc="4" dirty="0">
                <a:solidFill>
                  <a:srgbClr val="112F52"/>
                </a:solidFill>
              </a:rPr>
              <a:t> </a:t>
            </a:r>
            <a:r>
              <a:rPr spc="93" dirty="0">
                <a:solidFill>
                  <a:srgbClr val="112F52"/>
                </a:solidFill>
              </a:rPr>
              <a:t>élévateurs</a:t>
            </a:r>
          </a:p>
        </p:txBody>
      </p:sp>
      <p:sp>
        <p:nvSpPr>
          <p:cNvPr id="14" name="object 14"/>
          <p:cNvSpPr/>
          <p:nvPr/>
        </p:nvSpPr>
        <p:spPr>
          <a:xfrm>
            <a:off x="2061883" y="1826111"/>
            <a:ext cx="2056055" cy="345454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ftr" sz="quarter" idx="5"/>
          </p:nvPr>
        </p:nvSpPr>
        <p:spPr>
          <a:xfrm>
            <a:off x="1266642" y="6156040"/>
            <a:ext cx="831273" cy="2172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fr-FR"/>
            </a:defPPr>
            <a:lvl1pPr marL="0" algn="l" defTabSz="457200" rtl="0" eaLnBrk="1" latinLnBrk="0" hangingPunct="1">
              <a:defRPr sz="706" b="0" i="0" kern="1200">
                <a:solidFill>
                  <a:schemeClr val="tx1"/>
                </a:solidFill>
                <a:latin typeface="Times New Roman"/>
                <a:ea typeface="+mn-ea"/>
                <a:cs typeface="Times New Roman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206" marR="4483" defTabSz="806867">
              <a:spcBef>
                <a:spcPts val="13"/>
              </a:spcBef>
            </a:pPr>
            <a:r>
              <a:rPr lang="sv-SE" spc="-26"/>
              <a:t>EVOLIS- </a:t>
            </a:r>
            <a:r>
              <a:rPr lang="sv-SE" spc="35"/>
              <a:t>Saft  </a:t>
            </a:r>
            <a:r>
              <a:rPr lang="sv-SE" spc="22"/>
              <a:t>6-7 </a:t>
            </a:r>
            <a:r>
              <a:rPr lang="sv-SE" spc="31"/>
              <a:t>NOV</a:t>
            </a:r>
            <a:r>
              <a:rPr lang="sv-SE" spc="-62"/>
              <a:t> </a:t>
            </a:r>
            <a:r>
              <a:rPr lang="sv-SE" spc="31"/>
              <a:t>2019</a:t>
            </a:r>
            <a:endParaRPr spc="31" dirty="0">
              <a:solidFill>
                <a:prstClr val="black"/>
              </a:solidFill>
            </a:endParaRPr>
          </a:p>
        </p:txBody>
      </p:sp>
      <p:sp>
        <p:nvSpPr>
          <p:cNvPr id="16" name="object 16"/>
          <p:cNvSpPr txBox="1">
            <a:spLocks noGrp="1"/>
          </p:cNvSpPr>
          <p:nvPr>
            <p:ph type="sldNum" sz="quarter" idx="7"/>
          </p:nvPr>
        </p:nvSpPr>
        <p:spPr>
          <a:xfrm>
            <a:off x="907638" y="6143984"/>
            <a:ext cx="215515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fr-FR"/>
            </a:defPPr>
            <a:lvl1pPr marL="0" algn="l" defTabSz="457200" rtl="0" eaLnBrk="1" latinLnBrk="0" hangingPunct="1">
              <a:defRPr sz="1588" b="0" i="0" kern="1200">
                <a:solidFill>
                  <a:schemeClr val="tx1"/>
                </a:solidFill>
                <a:latin typeface="Times New Roman"/>
                <a:ea typeface="+mn-ea"/>
                <a:cs typeface="Times New Roman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9955" defTabSz="806867">
              <a:lnSpc>
                <a:spcPts val="1244"/>
              </a:lnSpc>
            </a:pPr>
            <a:fld id="{81D60167-4931-47E6-BA6A-407CBD079E47}" type="slidenum">
              <a:rPr lang="fr-FR" sz="1059" spc="53" smtClean="0"/>
              <a:pPr marL="59955">
                <a:lnSpc>
                  <a:spcPts val="1244"/>
                </a:lnSpc>
              </a:pPr>
              <a:t>3</a:t>
            </a:fld>
            <a:endParaRPr sz="1059">
              <a:solidFill>
                <a:prstClr val="black"/>
              </a:solidFill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5018449" y="6185411"/>
            <a:ext cx="2066925" cy="1222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206" defTabSz="806867"/>
            <a:r>
              <a:rPr sz="794" spc="40" dirty="0">
                <a:solidFill>
                  <a:prstClr val="black"/>
                </a:solidFill>
                <a:latin typeface="Times New Roman"/>
                <a:cs typeface="Times New Roman"/>
              </a:rPr>
              <a:t>Saft </a:t>
            </a:r>
            <a:r>
              <a:rPr sz="794" spc="62" dirty="0">
                <a:solidFill>
                  <a:prstClr val="black"/>
                </a:solidFill>
                <a:latin typeface="Times New Roman"/>
                <a:cs typeface="Times New Roman"/>
              </a:rPr>
              <a:t>proprietary </a:t>
            </a:r>
            <a:r>
              <a:rPr sz="794" spc="53" dirty="0">
                <a:solidFill>
                  <a:prstClr val="black"/>
                </a:solidFill>
                <a:latin typeface="Times New Roman"/>
                <a:cs typeface="Times New Roman"/>
              </a:rPr>
              <a:t>information </a:t>
            </a:r>
            <a:r>
              <a:rPr sz="794" dirty="0">
                <a:solidFill>
                  <a:prstClr val="black"/>
                </a:solidFill>
                <a:latin typeface="Times New Roman"/>
                <a:cs typeface="Times New Roman"/>
              </a:rPr>
              <a:t>–</a:t>
            </a:r>
            <a:r>
              <a:rPr sz="794" spc="-101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794" spc="62" dirty="0">
                <a:solidFill>
                  <a:prstClr val="black"/>
                </a:solidFill>
                <a:latin typeface="Times New Roman"/>
                <a:cs typeface="Times New Roman"/>
              </a:rPr>
              <a:t>Confidential</a:t>
            </a:r>
            <a:endParaRPr sz="794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7F55CD0-E839-634D-941A-E69FAF5E4E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1101" y="3004459"/>
            <a:ext cx="8373291" cy="653214"/>
          </a:xfrm>
        </p:spPr>
        <p:txBody>
          <a:bodyPr/>
          <a:lstStyle/>
          <a:p>
            <a:r>
              <a:rPr lang="fr-FR" dirty="0"/>
              <a:t>Visite de </a:t>
            </a:r>
            <a:r>
              <a:rPr lang="fr-FR" dirty="0" err="1"/>
              <a:t>Saft</a:t>
            </a:r>
            <a:r>
              <a:rPr lang="fr-FR" dirty="0"/>
              <a:t> Batteries</a:t>
            </a:r>
          </a:p>
        </p:txBody>
      </p:sp>
      <p:sp>
        <p:nvSpPr>
          <p:cNvPr id="5" name="Sous-titre 2">
            <a:extLst>
              <a:ext uri="{FF2B5EF4-FFF2-40B4-BE49-F238E27FC236}">
                <a16:creationId xmlns:a16="http://schemas.microsoft.com/office/drawing/2014/main" id="{FB202C77-BB24-4020-AE0E-6A8B0AD074DB}"/>
              </a:ext>
            </a:extLst>
          </p:cNvPr>
          <p:cNvSpPr txBox="1">
            <a:spLocks/>
          </p:cNvSpPr>
          <p:nvPr/>
        </p:nvSpPr>
        <p:spPr bwMode="auto">
          <a:xfrm>
            <a:off x="6581676" y="3657673"/>
            <a:ext cx="4824536" cy="100811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400" b="1" kern="1200">
                <a:solidFill>
                  <a:srgbClr val="E8147B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1" hangingPunct="1"/>
            <a:r>
              <a:rPr lang="fr-FR" altLang="fr-FR" dirty="0">
                <a:solidFill>
                  <a:srgbClr val="0067B8"/>
                </a:solidFill>
                <a:latin typeface="Calibri"/>
              </a:rPr>
              <a:t>Thierry </a:t>
            </a:r>
            <a:r>
              <a:rPr lang="fr-FR" altLang="fr-FR" dirty="0" err="1">
                <a:solidFill>
                  <a:srgbClr val="0067B8"/>
                </a:solidFill>
                <a:latin typeface="Calibri"/>
              </a:rPr>
              <a:t>Bouilleau</a:t>
            </a:r>
            <a:endParaRPr lang="fr-FR" altLang="fr-FR" dirty="0">
              <a:solidFill>
                <a:srgbClr val="0067B8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9499508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32" b="2886"/>
          <a:stretch/>
        </p:blipFill>
        <p:spPr>
          <a:xfrm>
            <a:off x="0" y="0"/>
            <a:ext cx="12192000" cy="6123093"/>
          </a:xfrm>
          <a:prstGeom prst="rect">
            <a:avLst/>
          </a:prstGeom>
        </p:spPr>
      </p:pic>
      <p:cxnSp>
        <p:nvCxnSpPr>
          <p:cNvPr id="28" name="Connecteur droit 27"/>
          <p:cNvCxnSpPr/>
          <p:nvPr/>
        </p:nvCxnSpPr>
        <p:spPr>
          <a:xfrm>
            <a:off x="600777" y="1948180"/>
            <a:ext cx="0" cy="141938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ject 5"/>
          <p:cNvSpPr/>
          <p:nvPr/>
        </p:nvSpPr>
        <p:spPr>
          <a:xfrm>
            <a:off x="0" y="1193372"/>
            <a:ext cx="7608147" cy="2792307"/>
          </a:xfrm>
          <a:custGeom>
            <a:avLst/>
            <a:gdLst/>
            <a:ahLst/>
            <a:cxnLst/>
            <a:rect l="l" t="t" r="r" b="b"/>
            <a:pathLst>
              <a:path w="5706110" h="2094230">
                <a:moveTo>
                  <a:pt x="5705995" y="0"/>
                </a:moveTo>
                <a:lnTo>
                  <a:pt x="0" y="0"/>
                </a:lnTo>
                <a:lnTo>
                  <a:pt x="0" y="2093912"/>
                </a:lnTo>
                <a:lnTo>
                  <a:pt x="4788001" y="2093912"/>
                </a:lnTo>
                <a:lnTo>
                  <a:pt x="5705995" y="0"/>
                </a:lnTo>
                <a:close/>
              </a:path>
            </a:pathLst>
          </a:custGeom>
          <a:solidFill>
            <a:srgbClr val="008FC2">
              <a:alpha val="69804"/>
            </a:srgbClr>
          </a:solidFill>
        </p:spPr>
        <p:txBody>
          <a:bodyPr wrap="square" lIns="0" tIns="0" rIns="0" bIns="0" rtlCol="0"/>
          <a:lstStyle/>
          <a:p>
            <a:pPr defTabSz="1219170"/>
            <a:endParaRPr sz="240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11" name="Titre 1"/>
          <p:cNvSpPr txBox="1">
            <a:spLocks/>
          </p:cNvSpPr>
          <p:nvPr/>
        </p:nvSpPr>
        <p:spPr>
          <a:xfrm>
            <a:off x="986649" y="1948180"/>
            <a:ext cx="5469632" cy="1470025"/>
          </a:xfrm>
          <a:prstGeom prst="rect">
            <a:avLst/>
          </a:prstGeom>
        </p:spPr>
        <p:txBody>
          <a:bodyPr vert="horz" lIns="0" tIns="60960" rIns="121920" bIns="60960" rtlCol="0" anchor="ctr">
            <a:normAutofit fontScale="90000" lnSpcReduction="1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219170"/>
            <a:r>
              <a:rPr lang="fr-FR" sz="5333" dirty="0">
                <a:solidFill>
                  <a:prstClr val="white"/>
                </a:solidFill>
                <a:latin typeface="Century Gothic"/>
              </a:rPr>
              <a:t>Etablissement de Nersac</a:t>
            </a:r>
            <a:endParaRPr lang="en-US" sz="5333" dirty="0">
              <a:solidFill>
                <a:prstClr val="white"/>
              </a:solidFill>
              <a:latin typeface="Century Gothic"/>
            </a:endParaRPr>
          </a:p>
        </p:txBody>
      </p:sp>
      <p:grpSp>
        <p:nvGrpSpPr>
          <p:cNvPr id="19" name="Groupe 18"/>
          <p:cNvGrpSpPr/>
          <p:nvPr/>
        </p:nvGrpSpPr>
        <p:grpSpPr>
          <a:xfrm>
            <a:off x="9622182" y="5263911"/>
            <a:ext cx="2249508" cy="1537828"/>
            <a:chOff x="7017028" y="3854371"/>
            <a:chExt cx="1687131" cy="1153371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95EC44D-E764-43F7-829F-610759F60EED}"/>
                </a:ext>
              </a:extLst>
            </p:cNvPr>
            <p:cNvSpPr/>
            <p:nvPr/>
          </p:nvSpPr>
          <p:spPr>
            <a:xfrm>
              <a:off x="7017028" y="3854371"/>
              <a:ext cx="1687131" cy="115337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fr-FR" sz="2400">
                <a:solidFill>
                  <a:prstClr val="white"/>
                </a:solidFill>
                <a:latin typeface="Century Gothic"/>
              </a:endParaRPr>
            </a:p>
          </p:txBody>
        </p:sp>
        <p:pic>
          <p:nvPicPr>
            <p:cNvPr id="21" name="Image 20">
              <a:extLst>
                <a:ext uri="{FF2B5EF4-FFF2-40B4-BE49-F238E27FC236}">
                  <a16:creationId xmlns:a16="http://schemas.microsoft.com/office/drawing/2014/main" id="{DA511D54-BCEC-4F37-B7A1-84748DE778C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86479" y="3952620"/>
              <a:ext cx="1520095" cy="1008822"/>
            </a:xfrm>
            <a:prstGeom prst="rect">
              <a:avLst/>
            </a:prstGeom>
          </p:spPr>
        </p:pic>
      </p:grpSp>
      <p:cxnSp>
        <p:nvCxnSpPr>
          <p:cNvPr id="9" name="Connecteur droit 8"/>
          <p:cNvCxnSpPr/>
          <p:nvPr/>
        </p:nvCxnSpPr>
        <p:spPr>
          <a:xfrm>
            <a:off x="600777" y="1948180"/>
            <a:ext cx="0" cy="141938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7599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Usine de Nersac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/>
            <a:r>
              <a:rPr lang="fr-FR">
                <a:solidFill>
                  <a:prstClr val="black"/>
                </a:solidFill>
                <a:latin typeface="Century Gothic"/>
              </a:rPr>
              <a:t>Planning visite</a:t>
            </a:r>
            <a:endParaRPr lang="fr-FR" dirty="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/>
            <a:fld id="{52D2473F-88A5-49A5-A347-C33A6A16DE0F}" type="slidenum">
              <a:rPr lang="fr-FR">
                <a:solidFill>
                  <a:prstClr val="black"/>
                </a:solidFill>
                <a:latin typeface="Century Gothic"/>
              </a:rPr>
              <a:pPr defTabSz="1219170"/>
              <a:t>32</a:t>
            </a:fld>
            <a:endParaRPr lang="fr-FR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8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2189349" y="1962545"/>
            <a:ext cx="4251931" cy="25400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FR" sz="1467" dirty="0"/>
              <a:t>Site de Nersac (16)</a:t>
            </a:r>
          </a:p>
          <a:p>
            <a:pPr marL="0" indent="0">
              <a:buNone/>
            </a:pPr>
            <a:r>
              <a:rPr lang="fr-FR" sz="1467" dirty="0"/>
              <a:t>Zone Industrielle - 16440 NERSAC</a:t>
            </a:r>
          </a:p>
          <a:p>
            <a:pPr marL="0" indent="0">
              <a:buNone/>
            </a:pPr>
            <a:r>
              <a:rPr lang="fr-FR" sz="1467"/>
              <a:t>Tel. </a:t>
            </a:r>
            <a:r>
              <a:rPr lang="fr-FR" sz="1467" dirty="0"/>
              <a:t>: 05 45 90 50 26</a:t>
            </a:r>
            <a:endParaRPr lang="en-US" sz="1467" dirty="0"/>
          </a:p>
        </p:txBody>
      </p:sp>
      <p:grpSp>
        <p:nvGrpSpPr>
          <p:cNvPr id="9" name="Groupe 8"/>
          <p:cNvGrpSpPr/>
          <p:nvPr/>
        </p:nvGrpSpPr>
        <p:grpSpPr>
          <a:xfrm>
            <a:off x="6893857" y="1103423"/>
            <a:ext cx="5062320" cy="4956717"/>
            <a:chOff x="5476743" y="988932"/>
            <a:chExt cx="3416432" cy="3358167"/>
          </a:xfrm>
        </p:grpSpPr>
        <p:pic>
          <p:nvPicPr>
            <p:cNvPr id="53250" name="Picture 2" descr="RÃ©sultat de recherche d'images pour &quot;carte france nersac&quot;"/>
            <p:cNvPicPr>
              <a:picLocks noChangeAspect="1" noChangeArrowheads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76743" y="988932"/>
              <a:ext cx="3416432" cy="33581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Image 4"/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709598" y="2528057"/>
              <a:ext cx="645289" cy="622435"/>
            </a:xfrm>
            <a:prstGeom prst="rect">
              <a:avLst/>
            </a:prstGeom>
          </p:spPr>
        </p:pic>
      </p:grpSp>
      <p:pic>
        <p:nvPicPr>
          <p:cNvPr id="10" name="Imag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572" y="1962546"/>
            <a:ext cx="1083997" cy="732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948263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lanning du 07/11/2019 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/>
            <a:r>
              <a:rPr lang="fr-FR">
                <a:solidFill>
                  <a:prstClr val="black"/>
                </a:solidFill>
                <a:latin typeface="Century Gothic"/>
              </a:rPr>
              <a:t>Planning visite</a:t>
            </a:r>
            <a:endParaRPr lang="fr-FR" dirty="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/>
            <a:fld id="{52D2473F-88A5-49A5-A347-C33A6A16DE0F}" type="slidenum">
              <a:rPr lang="fr-FR">
                <a:solidFill>
                  <a:prstClr val="black"/>
                </a:solidFill>
                <a:latin typeface="Century Gothic"/>
              </a:rPr>
              <a:pPr defTabSz="1219170"/>
              <a:t>33</a:t>
            </a:fld>
            <a:endParaRPr lang="fr-FR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19" name="Espace réservé du contenu 9"/>
          <p:cNvSpPr>
            <a:spLocks noGrp="1"/>
          </p:cNvSpPr>
          <p:nvPr>
            <p:ph sz="quarter" idx="4"/>
          </p:nvPr>
        </p:nvSpPr>
        <p:spPr>
          <a:xfrm>
            <a:off x="537634" y="1480555"/>
            <a:ext cx="3807105" cy="3951288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8EC2"/>
              </a:buClr>
              <a:buSzPct val="130000"/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122F53"/>
                </a:solidFill>
              </a:rPr>
              <a:t>8h30_Arrivée sur le site de Nersac</a:t>
            </a:r>
          </a:p>
          <a:p>
            <a:pPr marL="0" indent="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8EC2"/>
              </a:buClr>
              <a:buSzPct val="130000"/>
              <a:buNone/>
            </a:pPr>
            <a:endParaRPr lang="fr-FR" sz="1600" b="1" dirty="0">
              <a:solidFill>
                <a:srgbClr val="122F53"/>
              </a:solidFill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8EC2"/>
              </a:buClr>
              <a:buSzPct val="130000"/>
              <a:buFontTx/>
              <a:buChar char="-"/>
            </a:pPr>
            <a:r>
              <a:rPr lang="fr-FR" sz="1600" dirty="0">
                <a:solidFill>
                  <a:srgbClr val="122F53"/>
                </a:solidFill>
              </a:rPr>
              <a:t>Des places de parking vous sont réservées,</a:t>
            </a:r>
          </a:p>
          <a:p>
            <a:pPr marL="0" indent="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8EC2"/>
              </a:buClr>
              <a:buSzPct val="130000"/>
              <a:buNone/>
            </a:pPr>
            <a:endParaRPr lang="fr-FR" sz="1600" dirty="0">
              <a:solidFill>
                <a:srgbClr val="122F53"/>
              </a:solidFill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8EC2"/>
              </a:buClr>
              <a:buSzPct val="130000"/>
              <a:buFontTx/>
              <a:buChar char="-"/>
            </a:pPr>
            <a:r>
              <a:rPr lang="fr-FR" sz="1600" dirty="0">
                <a:solidFill>
                  <a:srgbClr val="122F53"/>
                </a:solidFill>
              </a:rPr>
              <a:t>Merci de vous présenter au poste de garde, muni de votre pièce d’identité et vos chaussures de sécurité/lunettes.</a:t>
            </a:r>
            <a:endParaRPr lang="fr-FR" sz="1600" b="1" dirty="0">
              <a:solidFill>
                <a:srgbClr val="122F53"/>
              </a:solidFill>
            </a:endParaRPr>
          </a:p>
        </p:txBody>
      </p:sp>
      <p:grpSp>
        <p:nvGrpSpPr>
          <p:cNvPr id="25" name="Groupe 24"/>
          <p:cNvGrpSpPr/>
          <p:nvPr/>
        </p:nvGrpSpPr>
        <p:grpSpPr>
          <a:xfrm>
            <a:off x="4220637" y="1320801"/>
            <a:ext cx="7818963" cy="4766449"/>
            <a:chOff x="2124541" y="859402"/>
            <a:chExt cx="7019459" cy="4094042"/>
          </a:xfrm>
        </p:grpSpPr>
        <p:grpSp>
          <p:nvGrpSpPr>
            <p:cNvPr id="18" name="Groupe 17"/>
            <p:cNvGrpSpPr/>
            <p:nvPr/>
          </p:nvGrpSpPr>
          <p:grpSpPr>
            <a:xfrm>
              <a:off x="2266357" y="859402"/>
              <a:ext cx="6877643" cy="3771102"/>
              <a:chOff x="2177457" y="872102"/>
              <a:chExt cx="6877643" cy="3771102"/>
            </a:xfrm>
          </p:grpSpPr>
          <p:grpSp>
            <p:nvGrpSpPr>
              <p:cNvPr id="14" name="Groupe 13"/>
              <p:cNvGrpSpPr/>
              <p:nvPr/>
            </p:nvGrpSpPr>
            <p:grpSpPr>
              <a:xfrm>
                <a:off x="2177457" y="872102"/>
                <a:ext cx="6877643" cy="3771102"/>
                <a:chOff x="2177457" y="872102"/>
                <a:chExt cx="6877643" cy="3771102"/>
              </a:xfrm>
            </p:grpSpPr>
            <p:pic>
              <p:nvPicPr>
                <p:cNvPr id="2" name="Image 1"/>
                <p:cNvPicPr>
                  <a:picLocks noChangeAspect="1"/>
                </p:cNvPicPr>
                <p:nvPr/>
              </p:nvPicPr>
              <p:blipFill rotWithShape="1">
                <a:blip r:embed="rId2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rcRect l="58696" t="29820" r="12723" b="10231"/>
                <a:stretch/>
              </p:blipFill>
              <p:spPr>
                <a:xfrm>
                  <a:off x="2662518" y="872102"/>
                  <a:ext cx="6392582" cy="3771102"/>
                </a:xfrm>
                <a:prstGeom prst="rect">
                  <a:avLst/>
                </a:prstGeom>
                <a:ln>
                  <a:tailEnd type="triangle"/>
                </a:ln>
              </p:spPr>
            </p:pic>
            <p:sp>
              <p:nvSpPr>
                <p:cNvPr id="13" name="Flèche droite 12"/>
                <p:cNvSpPr/>
                <p:nvPr/>
              </p:nvSpPr>
              <p:spPr>
                <a:xfrm>
                  <a:off x="2177457" y="4111394"/>
                  <a:ext cx="684156" cy="226202"/>
                </a:xfrm>
                <a:prstGeom prst="rightArrow">
                  <a:avLst/>
                </a:prstGeom>
                <a:ln>
                  <a:solidFill>
                    <a:srgbClr val="C00000"/>
                  </a:solidFill>
                  <a:tailEnd type="triangle"/>
                </a:ln>
              </p:spPr>
              <p:style>
                <a:lnRef idx="1">
                  <a:schemeClr val="dk1"/>
                </a:lnRef>
                <a:fillRef idx="1002">
                  <a:schemeClr val="lt2"/>
                </a:fillRef>
                <a:effectRef idx="1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fr-FR" sz="2400">
                    <a:solidFill>
                      <a:srgbClr val="C00000"/>
                    </a:solidFill>
                    <a:latin typeface="Century Gothic"/>
                  </a:endParaRPr>
                </a:p>
              </p:txBody>
            </p:sp>
            <p:sp>
              <p:nvSpPr>
                <p:cNvPr id="15" name="Flèche droite 14"/>
                <p:cNvSpPr/>
                <p:nvPr/>
              </p:nvSpPr>
              <p:spPr>
                <a:xfrm rot="16200000">
                  <a:off x="2703211" y="3490243"/>
                  <a:ext cx="684156" cy="224703"/>
                </a:xfrm>
                <a:prstGeom prst="rightArrow">
                  <a:avLst/>
                </a:prstGeom>
                <a:ln>
                  <a:solidFill>
                    <a:srgbClr val="C00000"/>
                  </a:solidFill>
                  <a:tailEnd type="triangle"/>
                </a:ln>
              </p:spPr>
              <p:style>
                <a:lnRef idx="1">
                  <a:schemeClr val="dk1"/>
                </a:lnRef>
                <a:fillRef idx="1002">
                  <a:schemeClr val="lt2"/>
                </a:fillRef>
                <a:effectRef idx="1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fr-FR" sz="2400">
                    <a:solidFill>
                      <a:prstClr val="black"/>
                    </a:solidFill>
                    <a:latin typeface="Century Gothic"/>
                  </a:endParaRPr>
                </a:p>
              </p:txBody>
            </p:sp>
          </p:grpSp>
          <p:sp>
            <p:nvSpPr>
              <p:cNvPr id="20" name="Flèche droite 19"/>
              <p:cNvSpPr/>
              <p:nvPr/>
            </p:nvSpPr>
            <p:spPr>
              <a:xfrm>
                <a:off x="4004525" y="3098924"/>
                <a:ext cx="684156" cy="226202"/>
              </a:xfrm>
              <a:prstGeom prst="rightArrow">
                <a:avLst/>
              </a:prstGeom>
              <a:ln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dk1"/>
              </a:lnRef>
              <a:fillRef idx="1002">
                <a:schemeClr val="lt2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21" name="Flèche droite 20"/>
              <p:cNvSpPr/>
              <p:nvPr/>
            </p:nvSpPr>
            <p:spPr>
              <a:xfrm>
                <a:off x="5410523" y="3098924"/>
                <a:ext cx="684156" cy="226202"/>
              </a:xfrm>
              <a:prstGeom prst="rightArrow">
                <a:avLst/>
              </a:prstGeom>
              <a:ln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dk1"/>
              </a:lnRef>
              <a:fillRef idx="1002">
                <a:schemeClr val="lt2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  <p:sp>
            <p:nvSpPr>
              <p:cNvPr id="22" name="Flèche droite 21"/>
              <p:cNvSpPr/>
              <p:nvPr/>
            </p:nvSpPr>
            <p:spPr>
              <a:xfrm>
                <a:off x="6684049" y="3098924"/>
                <a:ext cx="684156" cy="226202"/>
              </a:xfrm>
              <a:prstGeom prst="rightArrow">
                <a:avLst/>
              </a:prstGeom>
              <a:ln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dk1"/>
              </a:lnRef>
              <a:fillRef idx="1002">
                <a:schemeClr val="lt2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 defTabSz="1219170"/>
                <a:endParaRPr lang="fr-FR" sz="2400">
                  <a:solidFill>
                    <a:prstClr val="black"/>
                  </a:solidFill>
                  <a:latin typeface="Century Gothic"/>
                </a:endParaRPr>
              </a:p>
            </p:txBody>
          </p:sp>
        </p:grpSp>
        <p:sp>
          <p:nvSpPr>
            <p:cNvPr id="24" name="ZoneTexte 23"/>
            <p:cNvSpPr txBox="1"/>
            <p:nvPr/>
          </p:nvSpPr>
          <p:spPr>
            <a:xfrm>
              <a:off x="2124541" y="4380558"/>
              <a:ext cx="1010924" cy="572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70"/>
              <a:r>
                <a:rPr lang="fr-FR" sz="1867" b="1" dirty="0">
                  <a:solidFill>
                    <a:srgbClr val="C00000"/>
                  </a:solidFill>
                  <a:latin typeface="Futura Std Book" panose="020B0502020204020303" pitchFamily="34" charset="0"/>
                </a:rPr>
                <a:t>Entrée du si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4712727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lanning du 07/11/2019 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/>
            <a:r>
              <a:rPr lang="fr-FR" dirty="0">
                <a:solidFill>
                  <a:prstClr val="black"/>
                </a:solidFill>
                <a:latin typeface="Century Gothic"/>
              </a:rPr>
              <a:t>Planning visit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/>
            <a:fld id="{52D2473F-88A5-49A5-A347-C33A6A16DE0F}" type="slidenum">
              <a:rPr lang="fr-FR">
                <a:solidFill>
                  <a:prstClr val="black"/>
                </a:solidFill>
                <a:latin typeface="Century Gothic"/>
              </a:rPr>
              <a:pPr defTabSz="1219170"/>
              <a:t>34</a:t>
            </a:fld>
            <a:endParaRPr lang="fr-FR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19" name="Espace réservé du contenu 9"/>
          <p:cNvSpPr>
            <a:spLocks noGrp="1"/>
          </p:cNvSpPr>
          <p:nvPr>
            <p:ph sz="quarter" idx="4"/>
          </p:nvPr>
        </p:nvSpPr>
        <p:spPr>
          <a:xfrm>
            <a:off x="3695734" y="1429320"/>
            <a:ext cx="8161833" cy="4429857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8EC2"/>
              </a:buClr>
              <a:buSzPct val="130000"/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122F53"/>
                </a:solidFill>
              </a:rPr>
              <a:t>8h45_Café d’accueil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8EC2"/>
              </a:buClr>
              <a:buSzPct val="130000"/>
              <a:buNone/>
            </a:pPr>
            <a:r>
              <a:rPr lang="fr-FR" sz="1600" dirty="0">
                <a:solidFill>
                  <a:srgbClr val="122F53"/>
                </a:solidFill>
              </a:rPr>
              <a:t>Présentation de Saft Batteries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8EC2"/>
              </a:buClr>
              <a:buSzPct val="130000"/>
              <a:buNone/>
            </a:pPr>
            <a:endParaRPr lang="fr-FR" sz="1600" b="1" dirty="0">
              <a:solidFill>
                <a:srgbClr val="122F53"/>
              </a:solidFill>
            </a:endParaRP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8EC2"/>
              </a:buClr>
              <a:buSzPct val="130000"/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122F53"/>
                </a:solidFill>
              </a:rPr>
              <a:t>10h00_Accueil sécurité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8EC2"/>
              </a:buClr>
              <a:buSzPct val="130000"/>
              <a:buNone/>
            </a:pPr>
            <a:r>
              <a:rPr lang="fr-FR" sz="1600" dirty="0">
                <a:solidFill>
                  <a:srgbClr val="122F53"/>
                </a:solidFill>
              </a:rPr>
              <a:t>Vous allez pénétrer sur un site SEVESO, merci de bien vouloir respecter les consignes de sécurité.	</a:t>
            </a:r>
          </a:p>
          <a:p>
            <a:pPr marL="361942" lvl="1" inden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8EC2"/>
              </a:buClr>
              <a:buSzPct val="130000"/>
              <a:buNone/>
            </a:pPr>
            <a:endParaRPr lang="fr-FR" sz="1600" dirty="0">
              <a:solidFill>
                <a:srgbClr val="122F53"/>
              </a:solidFill>
            </a:endParaRP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8EC2"/>
              </a:buClr>
              <a:buSzPct val="130000"/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122F53"/>
                </a:solidFill>
              </a:rPr>
              <a:t>10h15_Visite Usine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8EC2"/>
              </a:buClr>
              <a:buSzPct val="130000"/>
              <a:buNone/>
            </a:pPr>
            <a:r>
              <a:rPr lang="fr-FR" sz="1600" dirty="0">
                <a:solidFill>
                  <a:srgbClr val="122F53"/>
                </a:solidFill>
              </a:rPr>
              <a:t>4 groupes, 2 départs à 10h15 et 10h30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8EC2"/>
              </a:buClr>
              <a:buSzPct val="130000"/>
              <a:buNone/>
            </a:pPr>
            <a:endParaRPr lang="fr-FR" sz="1600" dirty="0">
              <a:solidFill>
                <a:srgbClr val="122F53"/>
              </a:solidFill>
            </a:endParaRP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8EC2"/>
              </a:buClr>
              <a:buSzPct val="130000"/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122F53"/>
                </a:solidFill>
              </a:rPr>
              <a:t>12h00_Buffet</a:t>
            </a:r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850" r="28562"/>
          <a:stretch/>
        </p:blipFill>
        <p:spPr>
          <a:xfrm>
            <a:off x="0" y="999066"/>
            <a:ext cx="3132667" cy="5232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829740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8B234E7E-4905-4CAE-8A49-3D2EC9C45818}"/>
              </a:ext>
            </a:extLst>
          </p:cNvPr>
          <p:cNvSpPr txBox="1">
            <a:spLocks/>
          </p:cNvSpPr>
          <p:nvPr/>
        </p:nvSpPr>
        <p:spPr>
          <a:xfrm>
            <a:off x="0" y="1946366"/>
            <a:ext cx="11887199" cy="3875983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600" b="1" i="0" kern="1200">
                <a:solidFill>
                  <a:srgbClr val="FF66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5300" dirty="0"/>
              <a:t>Merci pour votre attention</a:t>
            </a:r>
          </a:p>
          <a:p>
            <a:endParaRPr lang="fr-FR" sz="3000" dirty="0"/>
          </a:p>
          <a:p>
            <a:r>
              <a:rPr lang="fr-FR" sz="3000" dirty="0"/>
              <a:t>Rdv demain chez Saft Batteries à 8h30</a:t>
            </a:r>
          </a:p>
          <a:p>
            <a:r>
              <a:rPr lang="fr-FR" sz="3000" dirty="0"/>
              <a:t>Zone Industrielle de Nersac</a:t>
            </a:r>
          </a:p>
          <a:p>
            <a:r>
              <a:rPr lang="fr-FR" sz="3000" dirty="0"/>
              <a:t>10 rue Ampère </a:t>
            </a:r>
          </a:p>
          <a:p>
            <a:r>
              <a:rPr lang="fr-FR" sz="3000" dirty="0"/>
              <a:t>16440 Nersac</a:t>
            </a:r>
          </a:p>
          <a:p>
            <a:endParaRPr lang="fr-FR" sz="3000" dirty="0"/>
          </a:p>
          <a:p>
            <a:endParaRPr lang="fr-FR" sz="3000" dirty="0"/>
          </a:p>
        </p:txBody>
      </p:sp>
    </p:spTree>
    <p:extLst>
      <p:ext uri="{BB962C8B-B14F-4D97-AF65-F5344CB8AC3E}">
        <p14:creationId xmlns:p14="http://schemas.microsoft.com/office/powerpoint/2010/main" val="26596639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061883" y="1011218"/>
            <a:ext cx="8068235" cy="10085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9570720" y="6154718"/>
            <a:ext cx="145228" cy="9412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9793941" y="6173545"/>
            <a:ext cx="48745" cy="75640"/>
          </a:xfrm>
          <a:custGeom>
            <a:avLst/>
            <a:gdLst/>
            <a:ahLst/>
            <a:cxnLst/>
            <a:rect l="l" t="t" r="r" b="b"/>
            <a:pathLst>
              <a:path w="55245" h="85725">
                <a:moveTo>
                  <a:pt x="0" y="0"/>
                </a:moveTo>
                <a:lnTo>
                  <a:pt x="54864" y="0"/>
                </a:lnTo>
                <a:lnTo>
                  <a:pt x="54864" y="85344"/>
                </a:lnTo>
                <a:lnTo>
                  <a:pt x="0" y="85344"/>
                </a:lnTo>
                <a:lnTo>
                  <a:pt x="0" y="0"/>
                </a:lnTo>
                <a:close/>
              </a:path>
            </a:pathLst>
          </a:custGeom>
          <a:solidFill>
            <a:srgbClr val="C11F2D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9740153" y="6164804"/>
            <a:ext cx="156322" cy="0"/>
          </a:xfrm>
          <a:custGeom>
            <a:avLst/>
            <a:gdLst/>
            <a:ahLst/>
            <a:cxnLst/>
            <a:rect l="l" t="t" r="r" b="b"/>
            <a:pathLst>
              <a:path w="177165">
                <a:moveTo>
                  <a:pt x="0" y="0"/>
                </a:moveTo>
                <a:lnTo>
                  <a:pt x="176784" y="0"/>
                </a:lnTo>
              </a:path>
            </a:pathLst>
          </a:custGeom>
          <a:ln w="22860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9194201" y="6154718"/>
            <a:ext cx="151952" cy="9412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9373048" y="6154718"/>
            <a:ext cx="160020" cy="9412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9194202" y="6312722"/>
            <a:ext cx="705971" cy="0"/>
          </a:xfrm>
          <a:custGeom>
            <a:avLst/>
            <a:gdLst/>
            <a:ahLst/>
            <a:cxnLst/>
            <a:rect l="l" t="t" r="r" b="b"/>
            <a:pathLst>
              <a:path w="800100">
                <a:moveTo>
                  <a:pt x="0" y="0"/>
                </a:moveTo>
                <a:lnTo>
                  <a:pt x="800100" y="0"/>
                </a:lnTo>
              </a:path>
            </a:pathLst>
          </a:custGeom>
          <a:ln w="53340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2538581" y="6196405"/>
            <a:ext cx="0" cy="118782"/>
          </a:xfrm>
          <a:custGeom>
            <a:avLst/>
            <a:gdLst/>
            <a:ahLst/>
            <a:cxnLst/>
            <a:rect l="l" t="t" r="r" b="b"/>
            <a:pathLst>
              <a:path h="134620">
                <a:moveTo>
                  <a:pt x="0" y="0"/>
                </a:moveTo>
                <a:lnTo>
                  <a:pt x="0" y="134112"/>
                </a:lnTo>
              </a:path>
            </a:pathLst>
          </a:custGeom>
          <a:ln w="10668">
            <a:solidFill>
              <a:srgbClr val="595959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538581" y="6094207"/>
            <a:ext cx="0" cy="159124"/>
          </a:xfrm>
          <a:custGeom>
            <a:avLst/>
            <a:gdLst/>
            <a:ahLst/>
            <a:cxnLst/>
            <a:rect l="l" t="t" r="r" b="b"/>
            <a:pathLst>
              <a:path h="180340">
                <a:moveTo>
                  <a:pt x="0" y="0"/>
                </a:moveTo>
                <a:lnTo>
                  <a:pt x="0" y="179832"/>
                </a:lnTo>
              </a:path>
            </a:pathLst>
          </a:custGeom>
          <a:ln w="10668">
            <a:solidFill>
              <a:srgbClr val="008EC1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2401605" y="569749"/>
            <a:ext cx="3736041" cy="309421"/>
          </a:xfrm>
          <a:prstGeom prst="rect">
            <a:avLst/>
          </a:prstGeom>
        </p:spPr>
        <p:txBody>
          <a:bodyPr vert="horz" wrap="square" lIns="0" tIns="10646" rIns="0" bIns="0" rtlCol="0">
            <a:spAutoFit/>
          </a:bodyPr>
          <a:lstStyle/>
          <a:p>
            <a:pPr marL="11206">
              <a:spcBef>
                <a:spcPts val="84"/>
              </a:spcBef>
            </a:pPr>
            <a:r>
              <a:rPr sz="1941" spc="159" dirty="0">
                <a:solidFill>
                  <a:srgbClr val="9A6EA8"/>
                </a:solidFill>
              </a:rPr>
              <a:t>Qualité </a:t>
            </a:r>
            <a:r>
              <a:rPr sz="1941" dirty="0">
                <a:solidFill>
                  <a:srgbClr val="9A6EA8"/>
                </a:solidFill>
              </a:rPr>
              <a:t>: </a:t>
            </a:r>
            <a:r>
              <a:rPr sz="1941" spc="190" dirty="0">
                <a:solidFill>
                  <a:srgbClr val="9A6EA8"/>
                </a:solidFill>
              </a:rPr>
              <a:t>un </a:t>
            </a:r>
            <a:r>
              <a:rPr sz="1941" spc="291" dirty="0">
                <a:solidFill>
                  <a:srgbClr val="9A6EA8"/>
                </a:solidFill>
              </a:rPr>
              <a:t>engagement</a:t>
            </a:r>
            <a:r>
              <a:rPr sz="1941" spc="-176" dirty="0">
                <a:solidFill>
                  <a:srgbClr val="9A6EA8"/>
                </a:solidFill>
              </a:rPr>
              <a:t> </a:t>
            </a:r>
            <a:r>
              <a:rPr sz="1941" spc="84" dirty="0">
                <a:solidFill>
                  <a:srgbClr val="9A6EA8"/>
                </a:solidFill>
              </a:rPr>
              <a:t>unifié</a:t>
            </a:r>
            <a:endParaRPr sz="1941"/>
          </a:p>
        </p:txBody>
      </p:sp>
      <p:sp>
        <p:nvSpPr>
          <p:cNvPr id="12" name="object 12"/>
          <p:cNvSpPr/>
          <p:nvPr/>
        </p:nvSpPr>
        <p:spPr>
          <a:xfrm>
            <a:off x="4489077" y="2407696"/>
            <a:ext cx="1366557" cy="0"/>
          </a:xfrm>
          <a:custGeom>
            <a:avLst/>
            <a:gdLst/>
            <a:ahLst/>
            <a:cxnLst/>
            <a:rect l="l" t="t" r="r" b="b"/>
            <a:pathLst>
              <a:path w="1548764">
                <a:moveTo>
                  <a:pt x="0" y="0"/>
                </a:moveTo>
                <a:lnTo>
                  <a:pt x="1548384" y="0"/>
                </a:lnTo>
              </a:path>
            </a:pathLst>
          </a:custGeom>
          <a:ln w="56388">
            <a:solidFill>
              <a:srgbClr val="008EC1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498036" y="2176611"/>
            <a:ext cx="2878790" cy="1519473"/>
          </a:xfrm>
          <a:prstGeom prst="rect">
            <a:avLst/>
          </a:prstGeom>
        </p:spPr>
        <p:txBody>
          <a:bodyPr vert="horz" wrap="square" lIns="0" tIns="11766" rIns="0" bIns="0" rtlCol="0">
            <a:spAutoFit/>
          </a:bodyPr>
          <a:lstStyle/>
          <a:p>
            <a:pPr marL="11206" defTabSz="806867">
              <a:spcBef>
                <a:spcPts val="93"/>
              </a:spcBef>
            </a:pPr>
            <a:r>
              <a:rPr sz="971" spc="93" dirty="0">
                <a:solidFill>
                  <a:srgbClr val="595959"/>
                </a:solidFill>
                <a:latin typeface="Times New Roman"/>
                <a:cs typeface="Times New Roman"/>
              </a:rPr>
              <a:t>Nersac, </a:t>
            </a:r>
            <a:r>
              <a:rPr sz="971" spc="97" dirty="0">
                <a:solidFill>
                  <a:srgbClr val="595959"/>
                </a:solidFill>
                <a:latin typeface="Times New Roman"/>
                <a:cs typeface="Times New Roman"/>
              </a:rPr>
              <a:t>un </a:t>
            </a:r>
            <a:r>
              <a:rPr sz="971" spc="53" dirty="0">
                <a:solidFill>
                  <a:srgbClr val="595959"/>
                </a:solidFill>
                <a:latin typeface="Times New Roman"/>
                <a:cs typeface="Times New Roman"/>
              </a:rPr>
              <a:t>site</a:t>
            </a:r>
            <a:r>
              <a:rPr sz="971" spc="-119" dirty="0">
                <a:solidFill>
                  <a:srgbClr val="595959"/>
                </a:solidFill>
                <a:latin typeface="Times New Roman"/>
                <a:cs typeface="Times New Roman"/>
              </a:rPr>
              <a:t> </a:t>
            </a:r>
            <a:r>
              <a:rPr sz="971" spc="57" dirty="0">
                <a:solidFill>
                  <a:srgbClr val="595959"/>
                </a:solidFill>
                <a:latin typeface="Times New Roman"/>
                <a:cs typeface="Times New Roman"/>
              </a:rPr>
              <a:t>certifié</a:t>
            </a:r>
            <a:endParaRPr sz="971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defTabSz="806867"/>
            <a:endParaRPr sz="1059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defTabSz="806867">
              <a:spcBef>
                <a:spcPts val="35"/>
              </a:spcBef>
            </a:pPr>
            <a:endParaRPr sz="971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246543" indent="-235336" defTabSz="806867">
              <a:buClr>
                <a:srgbClr val="008EC1"/>
              </a:buClr>
              <a:buSzPct val="109090"/>
              <a:buFontTx/>
              <a:buChar char="•"/>
              <a:tabLst>
                <a:tab pos="245982" algn="l"/>
                <a:tab pos="247103" algn="l"/>
              </a:tabLst>
            </a:pPr>
            <a:r>
              <a:rPr sz="971" dirty="0">
                <a:solidFill>
                  <a:srgbClr val="112F52"/>
                </a:solidFill>
                <a:latin typeface="Times New Roman"/>
                <a:cs typeface="Times New Roman"/>
              </a:rPr>
              <a:t>ISO </a:t>
            </a:r>
            <a:r>
              <a:rPr sz="971" spc="53" dirty="0">
                <a:solidFill>
                  <a:srgbClr val="112F52"/>
                </a:solidFill>
                <a:latin typeface="Times New Roman"/>
                <a:cs typeface="Times New Roman"/>
              </a:rPr>
              <a:t>9001 </a:t>
            </a:r>
            <a:r>
              <a:rPr sz="971" spc="57" dirty="0">
                <a:solidFill>
                  <a:srgbClr val="112F52"/>
                </a:solidFill>
                <a:latin typeface="Times New Roman"/>
                <a:cs typeface="Times New Roman"/>
              </a:rPr>
              <a:t>version </a:t>
            </a:r>
            <a:r>
              <a:rPr sz="971" spc="53" dirty="0">
                <a:solidFill>
                  <a:srgbClr val="112F52"/>
                </a:solidFill>
                <a:latin typeface="Times New Roman"/>
                <a:cs typeface="Times New Roman"/>
              </a:rPr>
              <a:t>2008 </a:t>
            </a:r>
            <a:r>
              <a:rPr sz="971" spc="44" dirty="0">
                <a:solidFill>
                  <a:srgbClr val="112F52"/>
                </a:solidFill>
                <a:latin typeface="Times New Roman"/>
                <a:cs typeface="Times New Roman"/>
              </a:rPr>
              <a:t>(Saft </a:t>
            </a:r>
            <a:r>
              <a:rPr sz="971" spc="75" dirty="0">
                <a:solidFill>
                  <a:srgbClr val="112F52"/>
                </a:solidFill>
                <a:latin typeface="Times New Roman"/>
                <a:cs typeface="Times New Roman"/>
              </a:rPr>
              <a:t>Chimie</a:t>
            </a:r>
            <a:r>
              <a:rPr sz="971" spc="-141" dirty="0">
                <a:solidFill>
                  <a:srgbClr val="112F52"/>
                </a:solidFill>
                <a:latin typeface="Times New Roman"/>
                <a:cs typeface="Times New Roman"/>
              </a:rPr>
              <a:t> </a:t>
            </a:r>
            <a:r>
              <a:rPr sz="971" spc="57" dirty="0">
                <a:solidFill>
                  <a:srgbClr val="112F52"/>
                </a:solidFill>
                <a:latin typeface="Times New Roman"/>
                <a:cs typeface="Times New Roman"/>
              </a:rPr>
              <a:t>Alcaline),</a:t>
            </a:r>
            <a:endParaRPr sz="971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defTabSz="806867">
              <a:spcBef>
                <a:spcPts val="49"/>
              </a:spcBef>
              <a:buClr>
                <a:srgbClr val="008EC1"/>
              </a:buClr>
              <a:buFont typeface="Times New Roman"/>
              <a:buChar char="•"/>
            </a:pPr>
            <a:endParaRPr sz="971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246543" indent="-235336" defTabSz="806867">
              <a:buClr>
                <a:srgbClr val="008EC1"/>
              </a:buClr>
              <a:buSzPct val="109090"/>
              <a:buFontTx/>
              <a:buChar char="•"/>
              <a:tabLst>
                <a:tab pos="245982" algn="l"/>
                <a:tab pos="247103" algn="l"/>
              </a:tabLst>
            </a:pPr>
            <a:r>
              <a:rPr sz="971" dirty="0">
                <a:solidFill>
                  <a:srgbClr val="112F52"/>
                </a:solidFill>
                <a:latin typeface="Times New Roman"/>
                <a:cs typeface="Times New Roman"/>
              </a:rPr>
              <a:t>ISO </a:t>
            </a:r>
            <a:r>
              <a:rPr sz="971" spc="53" dirty="0">
                <a:solidFill>
                  <a:srgbClr val="112F52"/>
                </a:solidFill>
                <a:latin typeface="Times New Roman"/>
                <a:cs typeface="Times New Roman"/>
              </a:rPr>
              <a:t>14001 </a:t>
            </a:r>
            <a:r>
              <a:rPr sz="971" spc="57" dirty="0">
                <a:solidFill>
                  <a:srgbClr val="112F52"/>
                </a:solidFill>
                <a:latin typeface="Times New Roman"/>
                <a:cs typeface="Times New Roman"/>
              </a:rPr>
              <a:t>version</a:t>
            </a:r>
            <a:r>
              <a:rPr sz="971" spc="-62" dirty="0">
                <a:solidFill>
                  <a:srgbClr val="112F52"/>
                </a:solidFill>
                <a:latin typeface="Times New Roman"/>
                <a:cs typeface="Times New Roman"/>
              </a:rPr>
              <a:t> </a:t>
            </a:r>
            <a:r>
              <a:rPr sz="971" spc="49" dirty="0">
                <a:solidFill>
                  <a:srgbClr val="112F52"/>
                </a:solidFill>
                <a:latin typeface="Times New Roman"/>
                <a:cs typeface="Times New Roman"/>
              </a:rPr>
              <a:t>2004,</a:t>
            </a:r>
            <a:endParaRPr sz="971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defTabSz="806867">
              <a:spcBef>
                <a:spcPts val="49"/>
              </a:spcBef>
              <a:buClr>
                <a:srgbClr val="008EC1"/>
              </a:buClr>
              <a:buFont typeface="Times New Roman"/>
              <a:buChar char="•"/>
            </a:pPr>
            <a:endParaRPr sz="971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246543" indent="-235336" defTabSz="806867">
              <a:buClr>
                <a:srgbClr val="008EC1"/>
              </a:buClr>
              <a:buSzPct val="109090"/>
              <a:buFontTx/>
              <a:buChar char="•"/>
              <a:tabLst>
                <a:tab pos="245982" algn="l"/>
                <a:tab pos="247103" algn="l"/>
              </a:tabLst>
            </a:pPr>
            <a:r>
              <a:rPr sz="971" spc="-18" dirty="0">
                <a:solidFill>
                  <a:srgbClr val="112F52"/>
                </a:solidFill>
                <a:latin typeface="Times New Roman"/>
                <a:cs typeface="Times New Roman"/>
              </a:rPr>
              <a:t>ISO/TS </a:t>
            </a:r>
            <a:r>
              <a:rPr sz="971" spc="49" dirty="0">
                <a:solidFill>
                  <a:srgbClr val="112F52"/>
                </a:solidFill>
                <a:latin typeface="Times New Roman"/>
                <a:cs typeface="Times New Roman"/>
              </a:rPr>
              <a:t>16949 </a:t>
            </a:r>
            <a:r>
              <a:rPr sz="971" spc="57" dirty="0">
                <a:solidFill>
                  <a:srgbClr val="112F52"/>
                </a:solidFill>
                <a:latin typeface="Times New Roman"/>
                <a:cs typeface="Times New Roman"/>
              </a:rPr>
              <a:t>version </a:t>
            </a:r>
            <a:r>
              <a:rPr sz="971" spc="53" dirty="0">
                <a:solidFill>
                  <a:srgbClr val="112F52"/>
                </a:solidFill>
                <a:latin typeface="Times New Roman"/>
                <a:cs typeface="Times New Roman"/>
              </a:rPr>
              <a:t>2009 </a:t>
            </a:r>
            <a:r>
              <a:rPr sz="971" spc="44" dirty="0">
                <a:solidFill>
                  <a:srgbClr val="112F52"/>
                </a:solidFill>
                <a:latin typeface="Times New Roman"/>
                <a:cs typeface="Times New Roman"/>
              </a:rPr>
              <a:t>(Saft</a:t>
            </a:r>
            <a:r>
              <a:rPr sz="971" spc="-66" dirty="0">
                <a:solidFill>
                  <a:srgbClr val="112F52"/>
                </a:solidFill>
                <a:latin typeface="Times New Roman"/>
                <a:cs typeface="Times New Roman"/>
              </a:rPr>
              <a:t> </a:t>
            </a:r>
            <a:r>
              <a:rPr sz="971" spc="26" dirty="0">
                <a:solidFill>
                  <a:srgbClr val="112F52"/>
                </a:solidFill>
                <a:latin typeface="Times New Roman"/>
                <a:cs typeface="Times New Roman"/>
              </a:rPr>
              <a:t>lithium),</a:t>
            </a:r>
            <a:endParaRPr sz="971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defTabSz="806867">
              <a:spcBef>
                <a:spcPts val="49"/>
              </a:spcBef>
              <a:buClr>
                <a:srgbClr val="008EC1"/>
              </a:buClr>
              <a:buFont typeface="Times New Roman"/>
              <a:buChar char="•"/>
            </a:pPr>
            <a:endParaRPr sz="971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246543" indent="-235336" defTabSz="806867">
              <a:buClr>
                <a:srgbClr val="008EC1"/>
              </a:buClr>
              <a:buSzPct val="109090"/>
              <a:buFontTx/>
              <a:buChar char="•"/>
              <a:tabLst>
                <a:tab pos="245982" algn="l"/>
                <a:tab pos="247103" algn="l"/>
              </a:tabLst>
            </a:pPr>
            <a:r>
              <a:rPr sz="971" spc="101" dirty="0">
                <a:solidFill>
                  <a:srgbClr val="112F52"/>
                </a:solidFill>
                <a:latin typeface="Times New Roman"/>
                <a:cs typeface="Times New Roman"/>
              </a:rPr>
              <a:t>Approbation </a:t>
            </a:r>
            <a:r>
              <a:rPr sz="971" spc="26" dirty="0">
                <a:solidFill>
                  <a:srgbClr val="112F52"/>
                </a:solidFill>
                <a:latin typeface="Times New Roman"/>
                <a:cs typeface="Times New Roman"/>
              </a:rPr>
              <a:t>OEA </a:t>
            </a:r>
            <a:r>
              <a:rPr sz="971" spc="97" dirty="0">
                <a:solidFill>
                  <a:srgbClr val="112F52"/>
                </a:solidFill>
                <a:latin typeface="Times New Roman"/>
                <a:cs typeface="Times New Roman"/>
              </a:rPr>
              <a:t>depuis</a:t>
            </a:r>
            <a:r>
              <a:rPr sz="971" spc="-124" dirty="0">
                <a:solidFill>
                  <a:srgbClr val="112F52"/>
                </a:solidFill>
                <a:latin typeface="Times New Roman"/>
                <a:cs typeface="Times New Roman"/>
              </a:rPr>
              <a:t> </a:t>
            </a:r>
            <a:r>
              <a:rPr sz="971" spc="44" dirty="0">
                <a:solidFill>
                  <a:srgbClr val="112F52"/>
                </a:solidFill>
                <a:latin typeface="Times New Roman"/>
                <a:cs typeface="Times New Roman"/>
              </a:rPr>
              <a:t>2011.</a:t>
            </a:r>
            <a:endParaRPr sz="971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7585934" y="4319195"/>
            <a:ext cx="938605" cy="420893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7577865" y="4309783"/>
            <a:ext cx="956422" cy="438710"/>
          </a:xfrm>
          <a:custGeom>
            <a:avLst/>
            <a:gdLst/>
            <a:ahLst/>
            <a:cxnLst/>
            <a:rect l="l" t="t" r="r" b="b"/>
            <a:pathLst>
              <a:path w="1083945" h="497204">
                <a:moveTo>
                  <a:pt x="1080516" y="496824"/>
                </a:moveTo>
                <a:lnTo>
                  <a:pt x="1524" y="496824"/>
                </a:lnTo>
                <a:lnTo>
                  <a:pt x="0" y="495300"/>
                </a:lnTo>
                <a:lnTo>
                  <a:pt x="0" y="3048"/>
                </a:lnTo>
                <a:lnTo>
                  <a:pt x="1524" y="0"/>
                </a:lnTo>
                <a:lnTo>
                  <a:pt x="1080516" y="0"/>
                </a:lnTo>
                <a:lnTo>
                  <a:pt x="1083564" y="3048"/>
                </a:lnTo>
                <a:lnTo>
                  <a:pt x="1083564" y="6096"/>
                </a:lnTo>
                <a:lnTo>
                  <a:pt x="9144" y="6096"/>
                </a:lnTo>
                <a:lnTo>
                  <a:pt x="4572" y="10668"/>
                </a:lnTo>
                <a:lnTo>
                  <a:pt x="9144" y="10668"/>
                </a:lnTo>
                <a:lnTo>
                  <a:pt x="9144" y="487680"/>
                </a:lnTo>
                <a:lnTo>
                  <a:pt x="4572" y="487680"/>
                </a:lnTo>
                <a:lnTo>
                  <a:pt x="9144" y="492252"/>
                </a:lnTo>
                <a:lnTo>
                  <a:pt x="1083564" y="492252"/>
                </a:lnTo>
                <a:lnTo>
                  <a:pt x="1083564" y="495300"/>
                </a:lnTo>
                <a:lnTo>
                  <a:pt x="1080516" y="496824"/>
                </a:lnTo>
                <a:close/>
              </a:path>
              <a:path w="1083945" h="497204">
                <a:moveTo>
                  <a:pt x="9144" y="10668"/>
                </a:moveTo>
                <a:lnTo>
                  <a:pt x="4572" y="10668"/>
                </a:lnTo>
                <a:lnTo>
                  <a:pt x="9144" y="6096"/>
                </a:lnTo>
                <a:lnTo>
                  <a:pt x="9144" y="10668"/>
                </a:lnTo>
                <a:close/>
              </a:path>
              <a:path w="1083945" h="497204">
                <a:moveTo>
                  <a:pt x="1072896" y="10668"/>
                </a:moveTo>
                <a:lnTo>
                  <a:pt x="9144" y="10668"/>
                </a:lnTo>
                <a:lnTo>
                  <a:pt x="9144" y="6096"/>
                </a:lnTo>
                <a:lnTo>
                  <a:pt x="1072896" y="6096"/>
                </a:lnTo>
                <a:lnTo>
                  <a:pt x="1072896" y="10668"/>
                </a:lnTo>
                <a:close/>
              </a:path>
              <a:path w="1083945" h="497204">
                <a:moveTo>
                  <a:pt x="1072896" y="492252"/>
                </a:moveTo>
                <a:lnTo>
                  <a:pt x="1072896" y="6096"/>
                </a:lnTo>
                <a:lnTo>
                  <a:pt x="1078992" y="10668"/>
                </a:lnTo>
                <a:lnTo>
                  <a:pt x="1083564" y="10668"/>
                </a:lnTo>
                <a:lnTo>
                  <a:pt x="1083564" y="487680"/>
                </a:lnTo>
                <a:lnTo>
                  <a:pt x="1078992" y="487680"/>
                </a:lnTo>
                <a:lnTo>
                  <a:pt x="1072896" y="492252"/>
                </a:lnTo>
                <a:close/>
              </a:path>
              <a:path w="1083945" h="497204">
                <a:moveTo>
                  <a:pt x="1083564" y="10668"/>
                </a:moveTo>
                <a:lnTo>
                  <a:pt x="1078992" y="10668"/>
                </a:lnTo>
                <a:lnTo>
                  <a:pt x="1072896" y="6096"/>
                </a:lnTo>
                <a:lnTo>
                  <a:pt x="1083564" y="6096"/>
                </a:lnTo>
                <a:lnTo>
                  <a:pt x="1083564" y="10668"/>
                </a:lnTo>
                <a:close/>
              </a:path>
              <a:path w="1083945" h="497204">
                <a:moveTo>
                  <a:pt x="9144" y="492252"/>
                </a:moveTo>
                <a:lnTo>
                  <a:pt x="4572" y="487680"/>
                </a:lnTo>
                <a:lnTo>
                  <a:pt x="9144" y="487680"/>
                </a:lnTo>
                <a:lnTo>
                  <a:pt x="9144" y="492252"/>
                </a:lnTo>
                <a:close/>
              </a:path>
              <a:path w="1083945" h="497204">
                <a:moveTo>
                  <a:pt x="1072896" y="492252"/>
                </a:moveTo>
                <a:lnTo>
                  <a:pt x="9144" y="492252"/>
                </a:lnTo>
                <a:lnTo>
                  <a:pt x="9144" y="487680"/>
                </a:lnTo>
                <a:lnTo>
                  <a:pt x="1072896" y="487680"/>
                </a:lnTo>
                <a:lnTo>
                  <a:pt x="1072896" y="492252"/>
                </a:lnTo>
                <a:close/>
              </a:path>
              <a:path w="1083945" h="497204">
                <a:moveTo>
                  <a:pt x="1083564" y="492252"/>
                </a:moveTo>
                <a:lnTo>
                  <a:pt x="1072896" y="492252"/>
                </a:lnTo>
                <a:lnTo>
                  <a:pt x="1078992" y="487680"/>
                </a:lnTo>
                <a:lnTo>
                  <a:pt x="1083564" y="487680"/>
                </a:lnTo>
                <a:lnTo>
                  <a:pt x="1083564" y="492252"/>
                </a:lnTo>
                <a:close/>
              </a:path>
            </a:pathLst>
          </a:custGeom>
          <a:solidFill>
            <a:srgbClr val="112F52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4507902" y="4051598"/>
            <a:ext cx="679076" cy="95608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4499834" y="4043530"/>
            <a:ext cx="695325" cy="972671"/>
          </a:xfrm>
          <a:custGeom>
            <a:avLst/>
            <a:gdLst/>
            <a:ahLst/>
            <a:cxnLst/>
            <a:rect l="l" t="t" r="r" b="b"/>
            <a:pathLst>
              <a:path w="788035" h="1102360">
                <a:moveTo>
                  <a:pt x="786384" y="1101852"/>
                </a:moveTo>
                <a:lnTo>
                  <a:pt x="1524" y="1101852"/>
                </a:lnTo>
                <a:lnTo>
                  <a:pt x="0" y="1098804"/>
                </a:lnTo>
                <a:lnTo>
                  <a:pt x="0" y="1524"/>
                </a:lnTo>
                <a:lnTo>
                  <a:pt x="1524" y="0"/>
                </a:lnTo>
                <a:lnTo>
                  <a:pt x="786384" y="0"/>
                </a:lnTo>
                <a:lnTo>
                  <a:pt x="787908" y="1524"/>
                </a:lnTo>
                <a:lnTo>
                  <a:pt x="787908" y="4572"/>
                </a:lnTo>
                <a:lnTo>
                  <a:pt x="9144" y="4572"/>
                </a:lnTo>
                <a:lnTo>
                  <a:pt x="4572" y="9144"/>
                </a:lnTo>
                <a:lnTo>
                  <a:pt x="9144" y="9144"/>
                </a:lnTo>
                <a:lnTo>
                  <a:pt x="9144" y="1092708"/>
                </a:lnTo>
                <a:lnTo>
                  <a:pt x="4572" y="1092708"/>
                </a:lnTo>
                <a:lnTo>
                  <a:pt x="9144" y="1097280"/>
                </a:lnTo>
                <a:lnTo>
                  <a:pt x="787908" y="1097280"/>
                </a:lnTo>
                <a:lnTo>
                  <a:pt x="787908" y="1098804"/>
                </a:lnTo>
                <a:lnTo>
                  <a:pt x="786384" y="1101852"/>
                </a:lnTo>
                <a:close/>
              </a:path>
              <a:path w="788035" h="1102360">
                <a:moveTo>
                  <a:pt x="9144" y="9144"/>
                </a:moveTo>
                <a:lnTo>
                  <a:pt x="4572" y="9144"/>
                </a:lnTo>
                <a:lnTo>
                  <a:pt x="9144" y="4572"/>
                </a:lnTo>
                <a:lnTo>
                  <a:pt x="9144" y="9144"/>
                </a:lnTo>
                <a:close/>
              </a:path>
              <a:path w="788035" h="1102360">
                <a:moveTo>
                  <a:pt x="778764" y="9144"/>
                </a:moveTo>
                <a:lnTo>
                  <a:pt x="9144" y="9144"/>
                </a:lnTo>
                <a:lnTo>
                  <a:pt x="9144" y="4572"/>
                </a:lnTo>
                <a:lnTo>
                  <a:pt x="778764" y="4572"/>
                </a:lnTo>
                <a:lnTo>
                  <a:pt x="778764" y="9144"/>
                </a:lnTo>
                <a:close/>
              </a:path>
              <a:path w="788035" h="1102360">
                <a:moveTo>
                  <a:pt x="778764" y="1097280"/>
                </a:moveTo>
                <a:lnTo>
                  <a:pt x="778764" y="4572"/>
                </a:lnTo>
                <a:lnTo>
                  <a:pt x="783336" y="9144"/>
                </a:lnTo>
                <a:lnTo>
                  <a:pt x="787908" y="9144"/>
                </a:lnTo>
                <a:lnTo>
                  <a:pt x="787908" y="1092708"/>
                </a:lnTo>
                <a:lnTo>
                  <a:pt x="783336" y="1092708"/>
                </a:lnTo>
                <a:lnTo>
                  <a:pt x="778764" y="1097280"/>
                </a:lnTo>
                <a:close/>
              </a:path>
              <a:path w="788035" h="1102360">
                <a:moveTo>
                  <a:pt x="787908" y="9144"/>
                </a:moveTo>
                <a:lnTo>
                  <a:pt x="783336" y="9144"/>
                </a:lnTo>
                <a:lnTo>
                  <a:pt x="778764" y="4572"/>
                </a:lnTo>
                <a:lnTo>
                  <a:pt x="787908" y="4572"/>
                </a:lnTo>
                <a:lnTo>
                  <a:pt x="787908" y="9144"/>
                </a:lnTo>
                <a:close/>
              </a:path>
              <a:path w="788035" h="1102360">
                <a:moveTo>
                  <a:pt x="9144" y="1097280"/>
                </a:moveTo>
                <a:lnTo>
                  <a:pt x="4572" y="1092708"/>
                </a:lnTo>
                <a:lnTo>
                  <a:pt x="9144" y="1092708"/>
                </a:lnTo>
                <a:lnTo>
                  <a:pt x="9144" y="1097280"/>
                </a:lnTo>
                <a:close/>
              </a:path>
              <a:path w="788035" h="1102360">
                <a:moveTo>
                  <a:pt x="778764" y="1097280"/>
                </a:moveTo>
                <a:lnTo>
                  <a:pt x="9144" y="1097280"/>
                </a:lnTo>
                <a:lnTo>
                  <a:pt x="9144" y="1092708"/>
                </a:lnTo>
                <a:lnTo>
                  <a:pt x="778764" y="1092708"/>
                </a:lnTo>
                <a:lnTo>
                  <a:pt x="778764" y="1097280"/>
                </a:lnTo>
                <a:close/>
              </a:path>
              <a:path w="788035" h="1102360">
                <a:moveTo>
                  <a:pt x="787908" y="1097280"/>
                </a:moveTo>
                <a:lnTo>
                  <a:pt x="778764" y="1097280"/>
                </a:lnTo>
                <a:lnTo>
                  <a:pt x="783336" y="1092708"/>
                </a:lnTo>
                <a:lnTo>
                  <a:pt x="787908" y="1092708"/>
                </a:lnTo>
                <a:lnTo>
                  <a:pt x="787908" y="1097280"/>
                </a:lnTo>
                <a:close/>
              </a:path>
            </a:pathLst>
          </a:custGeom>
          <a:solidFill>
            <a:srgbClr val="112F52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5275728" y="4051598"/>
            <a:ext cx="673698" cy="96146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5266316" y="4043530"/>
            <a:ext cx="691403" cy="977713"/>
          </a:xfrm>
          <a:custGeom>
            <a:avLst/>
            <a:gdLst/>
            <a:ahLst/>
            <a:cxnLst/>
            <a:rect l="l" t="t" r="r" b="b"/>
            <a:pathLst>
              <a:path w="783589" h="1108075">
                <a:moveTo>
                  <a:pt x="781812" y="1107948"/>
                </a:moveTo>
                <a:lnTo>
                  <a:pt x="3048" y="1107948"/>
                </a:lnTo>
                <a:lnTo>
                  <a:pt x="0" y="1106424"/>
                </a:lnTo>
                <a:lnTo>
                  <a:pt x="0" y="1524"/>
                </a:lnTo>
                <a:lnTo>
                  <a:pt x="3048" y="0"/>
                </a:lnTo>
                <a:lnTo>
                  <a:pt x="781812" y="0"/>
                </a:lnTo>
                <a:lnTo>
                  <a:pt x="783336" y="1524"/>
                </a:lnTo>
                <a:lnTo>
                  <a:pt x="783336" y="4572"/>
                </a:lnTo>
                <a:lnTo>
                  <a:pt x="10668" y="4572"/>
                </a:lnTo>
                <a:lnTo>
                  <a:pt x="6096" y="9144"/>
                </a:lnTo>
                <a:lnTo>
                  <a:pt x="10668" y="9144"/>
                </a:lnTo>
                <a:lnTo>
                  <a:pt x="10668" y="1098804"/>
                </a:lnTo>
                <a:lnTo>
                  <a:pt x="6096" y="1098804"/>
                </a:lnTo>
                <a:lnTo>
                  <a:pt x="10668" y="1103376"/>
                </a:lnTo>
                <a:lnTo>
                  <a:pt x="783336" y="1103376"/>
                </a:lnTo>
                <a:lnTo>
                  <a:pt x="783336" y="1106424"/>
                </a:lnTo>
                <a:lnTo>
                  <a:pt x="781812" y="1107948"/>
                </a:lnTo>
                <a:close/>
              </a:path>
              <a:path w="783589" h="1108075">
                <a:moveTo>
                  <a:pt x="10668" y="9144"/>
                </a:moveTo>
                <a:lnTo>
                  <a:pt x="6096" y="9144"/>
                </a:lnTo>
                <a:lnTo>
                  <a:pt x="10668" y="4572"/>
                </a:lnTo>
                <a:lnTo>
                  <a:pt x="10668" y="9144"/>
                </a:lnTo>
                <a:close/>
              </a:path>
              <a:path w="783589" h="1108075">
                <a:moveTo>
                  <a:pt x="774192" y="9144"/>
                </a:moveTo>
                <a:lnTo>
                  <a:pt x="10668" y="9144"/>
                </a:lnTo>
                <a:lnTo>
                  <a:pt x="10668" y="4572"/>
                </a:lnTo>
                <a:lnTo>
                  <a:pt x="774192" y="4572"/>
                </a:lnTo>
                <a:lnTo>
                  <a:pt x="774192" y="9144"/>
                </a:lnTo>
                <a:close/>
              </a:path>
              <a:path w="783589" h="1108075">
                <a:moveTo>
                  <a:pt x="774192" y="1103376"/>
                </a:moveTo>
                <a:lnTo>
                  <a:pt x="774192" y="4572"/>
                </a:lnTo>
                <a:lnTo>
                  <a:pt x="778764" y="9144"/>
                </a:lnTo>
                <a:lnTo>
                  <a:pt x="783336" y="9144"/>
                </a:lnTo>
                <a:lnTo>
                  <a:pt x="783336" y="1098804"/>
                </a:lnTo>
                <a:lnTo>
                  <a:pt x="778764" y="1098804"/>
                </a:lnTo>
                <a:lnTo>
                  <a:pt x="774192" y="1103376"/>
                </a:lnTo>
                <a:close/>
              </a:path>
              <a:path w="783589" h="1108075">
                <a:moveTo>
                  <a:pt x="783336" y="9144"/>
                </a:moveTo>
                <a:lnTo>
                  <a:pt x="778764" y="9144"/>
                </a:lnTo>
                <a:lnTo>
                  <a:pt x="774192" y="4572"/>
                </a:lnTo>
                <a:lnTo>
                  <a:pt x="783336" y="4572"/>
                </a:lnTo>
                <a:lnTo>
                  <a:pt x="783336" y="9144"/>
                </a:lnTo>
                <a:close/>
              </a:path>
              <a:path w="783589" h="1108075">
                <a:moveTo>
                  <a:pt x="10668" y="1103376"/>
                </a:moveTo>
                <a:lnTo>
                  <a:pt x="6096" y="1098804"/>
                </a:lnTo>
                <a:lnTo>
                  <a:pt x="10668" y="1098804"/>
                </a:lnTo>
                <a:lnTo>
                  <a:pt x="10668" y="1103376"/>
                </a:lnTo>
                <a:close/>
              </a:path>
              <a:path w="783589" h="1108075">
                <a:moveTo>
                  <a:pt x="774192" y="1103376"/>
                </a:moveTo>
                <a:lnTo>
                  <a:pt x="10668" y="1103376"/>
                </a:lnTo>
                <a:lnTo>
                  <a:pt x="10668" y="1098804"/>
                </a:lnTo>
                <a:lnTo>
                  <a:pt x="774192" y="1098804"/>
                </a:lnTo>
                <a:lnTo>
                  <a:pt x="774192" y="1103376"/>
                </a:lnTo>
                <a:close/>
              </a:path>
              <a:path w="783589" h="1108075">
                <a:moveTo>
                  <a:pt x="783336" y="1103376"/>
                </a:moveTo>
                <a:lnTo>
                  <a:pt x="774192" y="1103376"/>
                </a:lnTo>
                <a:lnTo>
                  <a:pt x="778764" y="1098804"/>
                </a:lnTo>
                <a:lnTo>
                  <a:pt x="783336" y="1098804"/>
                </a:lnTo>
                <a:lnTo>
                  <a:pt x="783336" y="1103376"/>
                </a:lnTo>
                <a:close/>
              </a:path>
            </a:pathLst>
          </a:custGeom>
          <a:solidFill>
            <a:srgbClr val="112F52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6038177" y="4052943"/>
            <a:ext cx="697901" cy="96012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6028765" y="4044875"/>
            <a:ext cx="715496" cy="976593"/>
          </a:xfrm>
          <a:custGeom>
            <a:avLst/>
            <a:gdLst/>
            <a:ahLst/>
            <a:cxnLst/>
            <a:rect l="l" t="t" r="r" b="b"/>
            <a:pathLst>
              <a:path w="810895" h="1106804">
                <a:moveTo>
                  <a:pt x="809244" y="1106424"/>
                </a:moveTo>
                <a:lnTo>
                  <a:pt x="3048" y="1106424"/>
                </a:lnTo>
                <a:lnTo>
                  <a:pt x="0" y="1104900"/>
                </a:lnTo>
                <a:lnTo>
                  <a:pt x="0" y="1524"/>
                </a:lnTo>
                <a:lnTo>
                  <a:pt x="3048" y="0"/>
                </a:lnTo>
                <a:lnTo>
                  <a:pt x="809244" y="0"/>
                </a:lnTo>
                <a:lnTo>
                  <a:pt x="810768" y="1524"/>
                </a:lnTo>
                <a:lnTo>
                  <a:pt x="810768" y="4572"/>
                </a:lnTo>
                <a:lnTo>
                  <a:pt x="10668" y="4572"/>
                </a:lnTo>
                <a:lnTo>
                  <a:pt x="6096" y="9144"/>
                </a:lnTo>
                <a:lnTo>
                  <a:pt x="10668" y="9144"/>
                </a:lnTo>
                <a:lnTo>
                  <a:pt x="10668" y="1097280"/>
                </a:lnTo>
                <a:lnTo>
                  <a:pt x="6096" y="1097280"/>
                </a:lnTo>
                <a:lnTo>
                  <a:pt x="10668" y="1101852"/>
                </a:lnTo>
                <a:lnTo>
                  <a:pt x="810768" y="1101852"/>
                </a:lnTo>
                <a:lnTo>
                  <a:pt x="810768" y="1104900"/>
                </a:lnTo>
                <a:lnTo>
                  <a:pt x="809244" y="1106424"/>
                </a:lnTo>
                <a:close/>
              </a:path>
              <a:path w="810895" h="1106804">
                <a:moveTo>
                  <a:pt x="10668" y="9144"/>
                </a:moveTo>
                <a:lnTo>
                  <a:pt x="6096" y="9144"/>
                </a:lnTo>
                <a:lnTo>
                  <a:pt x="10668" y="4572"/>
                </a:lnTo>
                <a:lnTo>
                  <a:pt x="10668" y="9144"/>
                </a:lnTo>
                <a:close/>
              </a:path>
              <a:path w="810895" h="1106804">
                <a:moveTo>
                  <a:pt x="801624" y="9144"/>
                </a:moveTo>
                <a:lnTo>
                  <a:pt x="10668" y="9144"/>
                </a:lnTo>
                <a:lnTo>
                  <a:pt x="10668" y="4572"/>
                </a:lnTo>
                <a:lnTo>
                  <a:pt x="801624" y="4572"/>
                </a:lnTo>
                <a:lnTo>
                  <a:pt x="801624" y="9144"/>
                </a:lnTo>
                <a:close/>
              </a:path>
              <a:path w="810895" h="1106804">
                <a:moveTo>
                  <a:pt x="801624" y="1101852"/>
                </a:moveTo>
                <a:lnTo>
                  <a:pt x="801624" y="4572"/>
                </a:lnTo>
                <a:lnTo>
                  <a:pt x="806196" y="9144"/>
                </a:lnTo>
                <a:lnTo>
                  <a:pt x="810768" y="9144"/>
                </a:lnTo>
                <a:lnTo>
                  <a:pt x="810768" y="1097280"/>
                </a:lnTo>
                <a:lnTo>
                  <a:pt x="806196" y="1097280"/>
                </a:lnTo>
                <a:lnTo>
                  <a:pt x="801624" y="1101852"/>
                </a:lnTo>
                <a:close/>
              </a:path>
              <a:path w="810895" h="1106804">
                <a:moveTo>
                  <a:pt x="810768" y="9144"/>
                </a:moveTo>
                <a:lnTo>
                  <a:pt x="806196" y="9144"/>
                </a:lnTo>
                <a:lnTo>
                  <a:pt x="801624" y="4572"/>
                </a:lnTo>
                <a:lnTo>
                  <a:pt x="810768" y="4572"/>
                </a:lnTo>
                <a:lnTo>
                  <a:pt x="810768" y="9144"/>
                </a:lnTo>
                <a:close/>
              </a:path>
              <a:path w="810895" h="1106804">
                <a:moveTo>
                  <a:pt x="10668" y="1101852"/>
                </a:moveTo>
                <a:lnTo>
                  <a:pt x="6096" y="1097280"/>
                </a:lnTo>
                <a:lnTo>
                  <a:pt x="10668" y="1097280"/>
                </a:lnTo>
                <a:lnTo>
                  <a:pt x="10668" y="1101852"/>
                </a:lnTo>
                <a:close/>
              </a:path>
              <a:path w="810895" h="1106804">
                <a:moveTo>
                  <a:pt x="801624" y="1101852"/>
                </a:moveTo>
                <a:lnTo>
                  <a:pt x="10668" y="1101852"/>
                </a:lnTo>
                <a:lnTo>
                  <a:pt x="10668" y="1097280"/>
                </a:lnTo>
                <a:lnTo>
                  <a:pt x="801624" y="1097280"/>
                </a:lnTo>
                <a:lnTo>
                  <a:pt x="801624" y="1101852"/>
                </a:lnTo>
                <a:close/>
              </a:path>
              <a:path w="810895" h="1106804">
                <a:moveTo>
                  <a:pt x="810768" y="1101852"/>
                </a:moveTo>
                <a:lnTo>
                  <a:pt x="801624" y="1101852"/>
                </a:lnTo>
                <a:lnTo>
                  <a:pt x="806196" y="1097280"/>
                </a:lnTo>
                <a:lnTo>
                  <a:pt x="810768" y="1097280"/>
                </a:lnTo>
                <a:lnTo>
                  <a:pt x="810768" y="1101852"/>
                </a:lnTo>
                <a:close/>
              </a:path>
            </a:pathLst>
          </a:custGeom>
          <a:solidFill>
            <a:srgbClr val="112F52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6823486" y="4051598"/>
            <a:ext cx="677732" cy="96012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6815418" y="4043530"/>
            <a:ext cx="694204" cy="976593"/>
          </a:xfrm>
          <a:custGeom>
            <a:avLst/>
            <a:gdLst/>
            <a:ahLst/>
            <a:cxnLst/>
            <a:rect l="l" t="t" r="r" b="b"/>
            <a:pathLst>
              <a:path w="786765" h="1106804">
                <a:moveTo>
                  <a:pt x="784860" y="1106424"/>
                </a:moveTo>
                <a:lnTo>
                  <a:pt x="1524" y="1106424"/>
                </a:lnTo>
                <a:lnTo>
                  <a:pt x="0" y="1104900"/>
                </a:lnTo>
                <a:lnTo>
                  <a:pt x="0" y="1524"/>
                </a:lnTo>
                <a:lnTo>
                  <a:pt x="1524" y="0"/>
                </a:lnTo>
                <a:lnTo>
                  <a:pt x="784860" y="0"/>
                </a:lnTo>
                <a:lnTo>
                  <a:pt x="786384" y="1524"/>
                </a:lnTo>
                <a:lnTo>
                  <a:pt x="786384" y="4572"/>
                </a:lnTo>
                <a:lnTo>
                  <a:pt x="9144" y="4572"/>
                </a:lnTo>
                <a:lnTo>
                  <a:pt x="4572" y="9144"/>
                </a:lnTo>
                <a:lnTo>
                  <a:pt x="9144" y="9144"/>
                </a:lnTo>
                <a:lnTo>
                  <a:pt x="9144" y="1097280"/>
                </a:lnTo>
                <a:lnTo>
                  <a:pt x="4572" y="1097280"/>
                </a:lnTo>
                <a:lnTo>
                  <a:pt x="9144" y="1101852"/>
                </a:lnTo>
                <a:lnTo>
                  <a:pt x="786384" y="1101852"/>
                </a:lnTo>
                <a:lnTo>
                  <a:pt x="786384" y="1104900"/>
                </a:lnTo>
                <a:lnTo>
                  <a:pt x="784860" y="1106424"/>
                </a:lnTo>
                <a:close/>
              </a:path>
              <a:path w="786765" h="1106804">
                <a:moveTo>
                  <a:pt x="9144" y="9144"/>
                </a:moveTo>
                <a:lnTo>
                  <a:pt x="4572" y="9144"/>
                </a:lnTo>
                <a:lnTo>
                  <a:pt x="9144" y="4572"/>
                </a:lnTo>
                <a:lnTo>
                  <a:pt x="9144" y="9144"/>
                </a:lnTo>
                <a:close/>
              </a:path>
              <a:path w="786765" h="1106804">
                <a:moveTo>
                  <a:pt x="777240" y="9144"/>
                </a:moveTo>
                <a:lnTo>
                  <a:pt x="9144" y="9144"/>
                </a:lnTo>
                <a:lnTo>
                  <a:pt x="9144" y="4572"/>
                </a:lnTo>
                <a:lnTo>
                  <a:pt x="777240" y="4572"/>
                </a:lnTo>
                <a:lnTo>
                  <a:pt x="777240" y="9144"/>
                </a:lnTo>
                <a:close/>
              </a:path>
              <a:path w="786765" h="1106804">
                <a:moveTo>
                  <a:pt x="777240" y="1101852"/>
                </a:moveTo>
                <a:lnTo>
                  <a:pt x="777240" y="4572"/>
                </a:lnTo>
                <a:lnTo>
                  <a:pt x="781812" y="9144"/>
                </a:lnTo>
                <a:lnTo>
                  <a:pt x="786384" y="9144"/>
                </a:lnTo>
                <a:lnTo>
                  <a:pt x="786384" y="1097280"/>
                </a:lnTo>
                <a:lnTo>
                  <a:pt x="781812" y="1097280"/>
                </a:lnTo>
                <a:lnTo>
                  <a:pt x="777240" y="1101852"/>
                </a:lnTo>
                <a:close/>
              </a:path>
              <a:path w="786765" h="1106804">
                <a:moveTo>
                  <a:pt x="786384" y="9144"/>
                </a:moveTo>
                <a:lnTo>
                  <a:pt x="781812" y="9144"/>
                </a:lnTo>
                <a:lnTo>
                  <a:pt x="777240" y="4572"/>
                </a:lnTo>
                <a:lnTo>
                  <a:pt x="786384" y="4572"/>
                </a:lnTo>
                <a:lnTo>
                  <a:pt x="786384" y="9144"/>
                </a:lnTo>
                <a:close/>
              </a:path>
              <a:path w="786765" h="1106804">
                <a:moveTo>
                  <a:pt x="9144" y="1101852"/>
                </a:moveTo>
                <a:lnTo>
                  <a:pt x="4572" y="1097280"/>
                </a:lnTo>
                <a:lnTo>
                  <a:pt x="9144" y="1097280"/>
                </a:lnTo>
                <a:lnTo>
                  <a:pt x="9144" y="1101852"/>
                </a:lnTo>
                <a:close/>
              </a:path>
              <a:path w="786765" h="1106804">
                <a:moveTo>
                  <a:pt x="777240" y="1101852"/>
                </a:moveTo>
                <a:lnTo>
                  <a:pt x="9144" y="1101852"/>
                </a:lnTo>
                <a:lnTo>
                  <a:pt x="9144" y="1097280"/>
                </a:lnTo>
                <a:lnTo>
                  <a:pt x="777240" y="1097280"/>
                </a:lnTo>
                <a:lnTo>
                  <a:pt x="777240" y="1101852"/>
                </a:lnTo>
                <a:close/>
              </a:path>
              <a:path w="786765" h="1106804">
                <a:moveTo>
                  <a:pt x="786384" y="1101852"/>
                </a:moveTo>
                <a:lnTo>
                  <a:pt x="777240" y="1101852"/>
                </a:lnTo>
                <a:lnTo>
                  <a:pt x="781812" y="1097280"/>
                </a:lnTo>
                <a:lnTo>
                  <a:pt x="786384" y="1097280"/>
                </a:lnTo>
                <a:lnTo>
                  <a:pt x="786384" y="1101852"/>
                </a:lnTo>
                <a:close/>
              </a:path>
            </a:pathLst>
          </a:custGeom>
          <a:solidFill>
            <a:srgbClr val="112F52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2061883" y="1822077"/>
            <a:ext cx="2073536" cy="3462617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5" name="object 25"/>
          <p:cNvSpPr txBox="1">
            <a:spLocks noGrp="1"/>
          </p:cNvSpPr>
          <p:nvPr>
            <p:ph type="ftr" sz="quarter" idx="5"/>
          </p:nvPr>
        </p:nvSpPr>
        <p:spPr>
          <a:xfrm>
            <a:off x="1266642" y="6156040"/>
            <a:ext cx="831273" cy="2172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fr-FR"/>
            </a:defPPr>
            <a:lvl1pPr marL="0" algn="l" defTabSz="457200" rtl="0" eaLnBrk="1" latinLnBrk="0" hangingPunct="1">
              <a:defRPr sz="706" b="0" i="0" kern="1200">
                <a:solidFill>
                  <a:schemeClr val="tx1"/>
                </a:solidFill>
                <a:latin typeface="Times New Roman"/>
                <a:ea typeface="+mn-ea"/>
                <a:cs typeface="Times New Roman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206" marR="4483" defTabSz="806867">
              <a:spcBef>
                <a:spcPts val="13"/>
              </a:spcBef>
            </a:pPr>
            <a:r>
              <a:rPr lang="sv-SE" spc="-26"/>
              <a:t>EVOLIS- </a:t>
            </a:r>
            <a:r>
              <a:rPr lang="sv-SE" spc="35"/>
              <a:t>Saft  </a:t>
            </a:r>
            <a:r>
              <a:rPr lang="sv-SE" spc="22"/>
              <a:t>6-7 </a:t>
            </a:r>
            <a:r>
              <a:rPr lang="sv-SE" spc="31"/>
              <a:t>NOV</a:t>
            </a:r>
            <a:r>
              <a:rPr lang="sv-SE" spc="-62"/>
              <a:t> </a:t>
            </a:r>
            <a:r>
              <a:rPr lang="sv-SE" spc="31"/>
              <a:t>2019</a:t>
            </a:r>
            <a:endParaRPr spc="31" dirty="0">
              <a:solidFill>
                <a:prstClr val="black"/>
              </a:solidFill>
            </a:endParaRPr>
          </a:p>
        </p:txBody>
      </p:sp>
      <p:sp>
        <p:nvSpPr>
          <p:cNvPr id="26" name="object 26"/>
          <p:cNvSpPr txBox="1">
            <a:spLocks noGrp="1"/>
          </p:cNvSpPr>
          <p:nvPr>
            <p:ph type="sldNum" sz="quarter" idx="7"/>
          </p:nvPr>
        </p:nvSpPr>
        <p:spPr>
          <a:xfrm>
            <a:off x="907638" y="6143984"/>
            <a:ext cx="215515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fr-FR"/>
            </a:defPPr>
            <a:lvl1pPr marL="0" algn="l" defTabSz="457200" rtl="0" eaLnBrk="1" latinLnBrk="0" hangingPunct="1">
              <a:defRPr sz="1588" b="0" i="0" kern="1200">
                <a:solidFill>
                  <a:schemeClr val="tx1"/>
                </a:solidFill>
                <a:latin typeface="Times New Roman"/>
                <a:ea typeface="+mn-ea"/>
                <a:cs typeface="Times New Roman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9955" defTabSz="806867">
              <a:lnSpc>
                <a:spcPts val="1244"/>
              </a:lnSpc>
            </a:pPr>
            <a:fld id="{81D60167-4931-47E6-BA6A-407CBD079E47}" type="slidenum">
              <a:rPr lang="fr-FR" sz="1059" spc="53" smtClean="0"/>
              <a:pPr marL="59955">
                <a:lnSpc>
                  <a:spcPts val="1244"/>
                </a:lnSpc>
              </a:pPr>
              <a:t>4</a:t>
            </a:fld>
            <a:endParaRPr sz="1059">
              <a:solidFill>
                <a:prstClr val="black"/>
              </a:solidFill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5018449" y="6185411"/>
            <a:ext cx="2066925" cy="1222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206" defTabSz="806867"/>
            <a:r>
              <a:rPr sz="794" spc="40" dirty="0">
                <a:solidFill>
                  <a:prstClr val="black"/>
                </a:solidFill>
                <a:latin typeface="Times New Roman"/>
                <a:cs typeface="Times New Roman"/>
              </a:rPr>
              <a:t>Saft </a:t>
            </a:r>
            <a:r>
              <a:rPr sz="794" spc="62" dirty="0">
                <a:solidFill>
                  <a:prstClr val="black"/>
                </a:solidFill>
                <a:latin typeface="Times New Roman"/>
                <a:cs typeface="Times New Roman"/>
              </a:rPr>
              <a:t>proprietary </a:t>
            </a:r>
            <a:r>
              <a:rPr sz="794" spc="53" dirty="0">
                <a:solidFill>
                  <a:prstClr val="black"/>
                </a:solidFill>
                <a:latin typeface="Times New Roman"/>
                <a:cs typeface="Times New Roman"/>
              </a:rPr>
              <a:t>information </a:t>
            </a:r>
            <a:r>
              <a:rPr sz="794" dirty="0">
                <a:solidFill>
                  <a:prstClr val="black"/>
                </a:solidFill>
                <a:latin typeface="Times New Roman"/>
                <a:cs typeface="Times New Roman"/>
              </a:rPr>
              <a:t>–</a:t>
            </a:r>
            <a:r>
              <a:rPr sz="794" spc="-101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794" spc="62" dirty="0">
                <a:solidFill>
                  <a:prstClr val="black"/>
                </a:solidFill>
                <a:latin typeface="Times New Roman"/>
                <a:cs typeface="Times New Roman"/>
              </a:rPr>
              <a:t>Confidential</a:t>
            </a:r>
            <a:endParaRPr sz="794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061883" y="1011218"/>
            <a:ext cx="8068235" cy="10085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9570720" y="6154718"/>
            <a:ext cx="145228" cy="9412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9793941" y="6173545"/>
            <a:ext cx="48745" cy="75640"/>
          </a:xfrm>
          <a:custGeom>
            <a:avLst/>
            <a:gdLst/>
            <a:ahLst/>
            <a:cxnLst/>
            <a:rect l="l" t="t" r="r" b="b"/>
            <a:pathLst>
              <a:path w="55245" h="85725">
                <a:moveTo>
                  <a:pt x="0" y="0"/>
                </a:moveTo>
                <a:lnTo>
                  <a:pt x="54864" y="0"/>
                </a:lnTo>
                <a:lnTo>
                  <a:pt x="54864" y="85344"/>
                </a:lnTo>
                <a:lnTo>
                  <a:pt x="0" y="85344"/>
                </a:lnTo>
                <a:lnTo>
                  <a:pt x="0" y="0"/>
                </a:lnTo>
                <a:close/>
              </a:path>
            </a:pathLst>
          </a:custGeom>
          <a:solidFill>
            <a:srgbClr val="C11F2D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9740153" y="6164804"/>
            <a:ext cx="156322" cy="0"/>
          </a:xfrm>
          <a:custGeom>
            <a:avLst/>
            <a:gdLst/>
            <a:ahLst/>
            <a:cxnLst/>
            <a:rect l="l" t="t" r="r" b="b"/>
            <a:pathLst>
              <a:path w="177165">
                <a:moveTo>
                  <a:pt x="0" y="0"/>
                </a:moveTo>
                <a:lnTo>
                  <a:pt x="176784" y="0"/>
                </a:lnTo>
              </a:path>
            </a:pathLst>
          </a:custGeom>
          <a:ln w="22860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9194201" y="6154718"/>
            <a:ext cx="151952" cy="9412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9373048" y="6154718"/>
            <a:ext cx="160020" cy="9412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9194202" y="6312722"/>
            <a:ext cx="705971" cy="0"/>
          </a:xfrm>
          <a:custGeom>
            <a:avLst/>
            <a:gdLst/>
            <a:ahLst/>
            <a:cxnLst/>
            <a:rect l="l" t="t" r="r" b="b"/>
            <a:pathLst>
              <a:path w="800100">
                <a:moveTo>
                  <a:pt x="0" y="0"/>
                </a:moveTo>
                <a:lnTo>
                  <a:pt x="800100" y="0"/>
                </a:lnTo>
              </a:path>
            </a:pathLst>
          </a:custGeom>
          <a:ln w="53340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2538581" y="6196405"/>
            <a:ext cx="0" cy="118782"/>
          </a:xfrm>
          <a:custGeom>
            <a:avLst/>
            <a:gdLst/>
            <a:ahLst/>
            <a:cxnLst/>
            <a:rect l="l" t="t" r="r" b="b"/>
            <a:pathLst>
              <a:path h="134620">
                <a:moveTo>
                  <a:pt x="0" y="0"/>
                </a:moveTo>
                <a:lnTo>
                  <a:pt x="0" y="134112"/>
                </a:lnTo>
              </a:path>
            </a:pathLst>
          </a:custGeom>
          <a:ln w="10668">
            <a:solidFill>
              <a:srgbClr val="595959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061883" y="1210236"/>
            <a:ext cx="8068235" cy="44778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2665228" y="698796"/>
            <a:ext cx="1319493" cy="309421"/>
          </a:xfrm>
          <a:prstGeom prst="rect">
            <a:avLst/>
          </a:prstGeom>
        </p:spPr>
        <p:txBody>
          <a:bodyPr vert="horz" wrap="square" lIns="0" tIns="10646" rIns="0" bIns="0" rtlCol="0">
            <a:spAutoFit/>
          </a:bodyPr>
          <a:lstStyle/>
          <a:p>
            <a:pPr marL="11206">
              <a:spcBef>
                <a:spcPts val="84"/>
              </a:spcBef>
            </a:pPr>
            <a:r>
              <a:rPr sz="1941" spc="71" dirty="0">
                <a:solidFill>
                  <a:srgbClr val="001F60"/>
                </a:solidFill>
              </a:rPr>
              <a:t>Lithium-ion</a:t>
            </a:r>
            <a:endParaRPr sz="1941"/>
          </a:p>
        </p:txBody>
      </p:sp>
      <p:sp>
        <p:nvSpPr>
          <p:cNvPr id="14" name="object 14"/>
          <p:cNvSpPr txBox="1"/>
          <p:nvPr/>
        </p:nvSpPr>
        <p:spPr>
          <a:xfrm>
            <a:off x="2330383" y="6143983"/>
            <a:ext cx="134471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206" defTabSz="806867">
              <a:lnSpc>
                <a:spcPts val="1822"/>
              </a:lnSpc>
            </a:pPr>
            <a:r>
              <a:rPr sz="1588" spc="84" dirty="0">
                <a:solidFill>
                  <a:prstClr val="black"/>
                </a:solidFill>
                <a:latin typeface="Times New Roman"/>
                <a:cs typeface="Times New Roman"/>
              </a:rPr>
              <a:t>6</a:t>
            </a:r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ftr" sz="quarter" idx="5"/>
          </p:nvPr>
        </p:nvSpPr>
        <p:spPr>
          <a:xfrm>
            <a:off x="1266642" y="6156040"/>
            <a:ext cx="831273" cy="2172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fr-FR"/>
            </a:defPPr>
            <a:lvl1pPr marL="0" algn="l" defTabSz="457200" rtl="0" eaLnBrk="1" latinLnBrk="0" hangingPunct="1">
              <a:defRPr sz="706" b="0" i="0" kern="1200">
                <a:solidFill>
                  <a:schemeClr val="tx1"/>
                </a:solidFill>
                <a:latin typeface="Times New Roman"/>
                <a:ea typeface="+mn-ea"/>
                <a:cs typeface="Times New Roman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206" marR="4483" defTabSz="806867">
              <a:spcBef>
                <a:spcPts val="13"/>
              </a:spcBef>
            </a:pPr>
            <a:r>
              <a:rPr lang="sv-SE" spc="-26"/>
              <a:t>EVOLIS- </a:t>
            </a:r>
            <a:r>
              <a:rPr lang="sv-SE" spc="35"/>
              <a:t>Saft  </a:t>
            </a:r>
            <a:r>
              <a:rPr lang="sv-SE" spc="22"/>
              <a:t>6-7 </a:t>
            </a:r>
            <a:r>
              <a:rPr lang="sv-SE" spc="31"/>
              <a:t>NOV</a:t>
            </a:r>
            <a:r>
              <a:rPr lang="sv-SE" spc="-62"/>
              <a:t> </a:t>
            </a:r>
            <a:r>
              <a:rPr lang="sv-SE" spc="31"/>
              <a:t>2019</a:t>
            </a:r>
            <a:endParaRPr spc="31" dirty="0">
              <a:solidFill>
                <a:prstClr val="black"/>
              </a:solidFill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5018449" y="6185411"/>
            <a:ext cx="2180104" cy="1222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206" defTabSz="806867"/>
            <a:r>
              <a:rPr sz="794" spc="49" dirty="0">
                <a:solidFill>
                  <a:prstClr val="black"/>
                </a:solidFill>
                <a:latin typeface="Times New Roman"/>
                <a:cs typeface="Times New Roman"/>
              </a:rPr>
              <a:t>Informations </a:t>
            </a:r>
            <a:r>
              <a:rPr sz="794" spc="71" dirty="0">
                <a:solidFill>
                  <a:prstClr val="black"/>
                </a:solidFill>
                <a:latin typeface="Times New Roman"/>
                <a:cs typeface="Times New Roman"/>
              </a:rPr>
              <a:t>propriété </a:t>
            </a:r>
            <a:r>
              <a:rPr sz="794" spc="150" dirty="0">
                <a:solidFill>
                  <a:prstClr val="black"/>
                </a:solidFill>
                <a:latin typeface="Times New Roman"/>
                <a:cs typeface="Times New Roman"/>
              </a:rPr>
              <a:t>de</a:t>
            </a:r>
            <a:r>
              <a:rPr sz="794" spc="-79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794" spc="40" dirty="0">
                <a:solidFill>
                  <a:prstClr val="black"/>
                </a:solidFill>
                <a:latin typeface="Times New Roman"/>
                <a:cs typeface="Times New Roman"/>
              </a:rPr>
              <a:t>Saft </a:t>
            </a:r>
            <a:r>
              <a:rPr sz="794" dirty="0">
                <a:solidFill>
                  <a:prstClr val="black"/>
                </a:solidFill>
                <a:latin typeface="Times New Roman"/>
                <a:cs typeface="Times New Roman"/>
              </a:rPr>
              <a:t>– </a:t>
            </a:r>
            <a:r>
              <a:rPr sz="794" spc="57" dirty="0">
                <a:solidFill>
                  <a:prstClr val="black"/>
                </a:solidFill>
                <a:latin typeface="Times New Roman"/>
                <a:cs typeface="Times New Roman"/>
              </a:rPr>
              <a:t>Confidentiel</a:t>
            </a:r>
            <a:endParaRPr sz="794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315556" y="2655352"/>
            <a:ext cx="6548157" cy="431634"/>
          </a:xfrm>
          <a:prstGeom prst="rect">
            <a:avLst/>
          </a:prstGeom>
        </p:spPr>
        <p:txBody>
          <a:bodyPr vert="horz" wrap="square" lIns="0" tIns="10646" rIns="0" bIns="0" rtlCol="0">
            <a:spAutoFit/>
          </a:bodyPr>
          <a:lstStyle/>
          <a:p>
            <a:pPr marL="11206" defTabSz="806867">
              <a:spcBef>
                <a:spcPts val="84"/>
              </a:spcBef>
            </a:pPr>
            <a:r>
              <a:rPr sz="2735" spc="62" dirty="0">
                <a:solidFill>
                  <a:prstClr val="black"/>
                </a:solidFill>
                <a:latin typeface="Times New Roman"/>
                <a:cs typeface="Times New Roman"/>
              </a:rPr>
              <a:t>Les </a:t>
            </a:r>
            <a:r>
              <a:rPr sz="2735" spc="313" dirty="0">
                <a:solidFill>
                  <a:prstClr val="black"/>
                </a:solidFill>
                <a:latin typeface="Times New Roman"/>
                <a:cs typeface="Times New Roman"/>
              </a:rPr>
              <a:t>accumulateurs </a:t>
            </a:r>
            <a:r>
              <a:rPr sz="2735" spc="101" dirty="0">
                <a:solidFill>
                  <a:prstClr val="black"/>
                </a:solidFill>
                <a:latin typeface="Times New Roman"/>
                <a:cs typeface="Times New Roman"/>
              </a:rPr>
              <a:t>Lithium-ion </a:t>
            </a:r>
            <a:r>
              <a:rPr sz="2735" spc="53" dirty="0">
                <a:solidFill>
                  <a:prstClr val="black"/>
                </a:solidFill>
                <a:latin typeface="Times New Roman"/>
                <a:cs typeface="Times New Roman"/>
              </a:rPr>
              <a:t>(Li-ion)</a:t>
            </a:r>
            <a:r>
              <a:rPr sz="2735" spc="-15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2735" dirty="0">
                <a:solidFill>
                  <a:prstClr val="black"/>
                </a:solidFill>
                <a:latin typeface="Times New Roman"/>
                <a:cs typeface="Times New Roman"/>
              </a:rPr>
              <a:t>:</a:t>
            </a:r>
            <a:endParaRPr sz="2735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828401" y="3443295"/>
            <a:ext cx="3223371" cy="751198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1588" spc="190" dirty="0">
                <a:solidFill>
                  <a:prstClr val="black"/>
                </a:solidFill>
                <a:latin typeface="Times New Roman"/>
                <a:cs typeface="Times New Roman"/>
              </a:rPr>
              <a:t>1/ </a:t>
            </a:r>
            <a:r>
              <a:rPr sz="1588" spc="106" dirty="0">
                <a:solidFill>
                  <a:prstClr val="black"/>
                </a:solidFill>
                <a:latin typeface="Times New Roman"/>
                <a:cs typeface="Times New Roman"/>
              </a:rPr>
              <a:t>Description </a:t>
            </a:r>
            <a:r>
              <a:rPr sz="1588" spc="172" dirty="0">
                <a:solidFill>
                  <a:prstClr val="black"/>
                </a:solidFill>
                <a:latin typeface="Times New Roman"/>
                <a:cs typeface="Times New Roman"/>
              </a:rPr>
              <a:t>et</a:t>
            </a:r>
            <a:r>
              <a:rPr sz="1588" spc="-199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54" dirty="0">
                <a:solidFill>
                  <a:prstClr val="black"/>
                </a:solidFill>
                <a:latin typeface="Times New Roman"/>
                <a:cs typeface="Times New Roman"/>
              </a:rPr>
              <a:t>fonctionnement</a:t>
            </a:r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defTabSz="806867">
              <a:spcBef>
                <a:spcPts val="4"/>
              </a:spcBef>
            </a:pPr>
            <a:endParaRPr sz="1632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11206" defTabSz="806867"/>
            <a:r>
              <a:rPr sz="1588" spc="190" dirty="0">
                <a:solidFill>
                  <a:prstClr val="black"/>
                </a:solidFill>
                <a:latin typeface="Times New Roman"/>
                <a:cs typeface="Times New Roman"/>
              </a:rPr>
              <a:t>2/ </a:t>
            </a:r>
            <a:r>
              <a:rPr sz="1588" spc="124" dirty="0">
                <a:solidFill>
                  <a:prstClr val="black"/>
                </a:solidFill>
                <a:latin typeface="Times New Roman"/>
                <a:cs typeface="Times New Roman"/>
              </a:rPr>
              <a:t>Propriétés/</a:t>
            </a:r>
            <a:r>
              <a:rPr sz="1588" spc="-11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37" dirty="0">
                <a:solidFill>
                  <a:prstClr val="black"/>
                </a:solidFill>
                <a:latin typeface="Times New Roman"/>
                <a:cs typeface="Times New Roman"/>
              </a:rPr>
              <a:t>sécurité</a:t>
            </a:r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061883" y="1011218"/>
            <a:ext cx="8068235" cy="10085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9570720" y="6154718"/>
            <a:ext cx="145228" cy="9412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9793941" y="6173545"/>
            <a:ext cx="48745" cy="75640"/>
          </a:xfrm>
          <a:custGeom>
            <a:avLst/>
            <a:gdLst/>
            <a:ahLst/>
            <a:cxnLst/>
            <a:rect l="l" t="t" r="r" b="b"/>
            <a:pathLst>
              <a:path w="55245" h="85725">
                <a:moveTo>
                  <a:pt x="0" y="0"/>
                </a:moveTo>
                <a:lnTo>
                  <a:pt x="54864" y="0"/>
                </a:lnTo>
                <a:lnTo>
                  <a:pt x="54864" y="85344"/>
                </a:lnTo>
                <a:lnTo>
                  <a:pt x="0" y="85344"/>
                </a:lnTo>
                <a:lnTo>
                  <a:pt x="0" y="0"/>
                </a:lnTo>
                <a:close/>
              </a:path>
            </a:pathLst>
          </a:custGeom>
          <a:solidFill>
            <a:srgbClr val="C11F2D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9740153" y="6164804"/>
            <a:ext cx="156322" cy="0"/>
          </a:xfrm>
          <a:custGeom>
            <a:avLst/>
            <a:gdLst/>
            <a:ahLst/>
            <a:cxnLst/>
            <a:rect l="l" t="t" r="r" b="b"/>
            <a:pathLst>
              <a:path w="177165">
                <a:moveTo>
                  <a:pt x="0" y="0"/>
                </a:moveTo>
                <a:lnTo>
                  <a:pt x="176784" y="0"/>
                </a:lnTo>
              </a:path>
            </a:pathLst>
          </a:custGeom>
          <a:ln w="22860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9194201" y="6154718"/>
            <a:ext cx="151952" cy="9412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9373048" y="6154718"/>
            <a:ext cx="160020" cy="9412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9194202" y="6312722"/>
            <a:ext cx="705971" cy="0"/>
          </a:xfrm>
          <a:custGeom>
            <a:avLst/>
            <a:gdLst/>
            <a:ahLst/>
            <a:cxnLst/>
            <a:rect l="l" t="t" r="r" b="b"/>
            <a:pathLst>
              <a:path w="800100">
                <a:moveTo>
                  <a:pt x="0" y="0"/>
                </a:moveTo>
                <a:lnTo>
                  <a:pt x="800100" y="0"/>
                </a:lnTo>
              </a:path>
            </a:pathLst>
          </a:custGeom>
          <a:ln w="53340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2538581" y="6196405"/>
            <a:ext cx="0" cy="118782"/>
          </a:xfrm>
          <a:custGeom>
            <a:avLst/>
            <a:gdLst/>
            <a:ahLst/>
            <a:cxnLst/>
            <a:rect l="l" t="t" r="r" b="b"/>
            <a:pathLst>
              <a:path h="134620">
                <a:moveTo>
                  <a:pt x="0" y="0"/>
                </a:moveTo>
                <a:lnTo>
                  <a:pt x="0" y="134112"/>
                </a:lnTo>
              </a:path>
            </a:pathLst>
          </a:custGeom>
          <a:ln w="10668">
            <a:solidFill>
              <a:srgbClr val="595959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018470" y="6174480"/>
            <a:ext cx="2027704" cy="130692"/>
          </a:xfrm>
          <a:prstGeom prst="rect">
            <a:avLst/>
          </a:prstGeom>
        </p:spPr>
        <p:txBody>
          <a:bodyPr vert="horz" wrap="square" lIns="0" tIns="15128" rIns="0" bIns="0" rtlCol="0">
            <a:spAutoFit/>
          </a:bodyPr>
          <a:lstStyle/>
          <a:p>
            <a:pPr marL="11206" defTabSz="806867">
              <a:spcBef>
                <a:spcPts val="119"/>
              </a:spcBef>
            </a:pPr>
            <a:r>
              <a:rPr sz="750" spc="53" dirty="0">
                <a:solidFill>
                  <a:prstClr val="black"/>
                </a:solidFill>
                <a:latin typeface="Times New Roman"/>
                <a:cs typeface="Times New Roman"/>
              </a:rPr>
              <a:t>Saft </a:t>
            </a:r>
            <a:r>
              <a:rPr sz="750" spc="75" dirty="0">
                <a:solidFill>
                  <a:prstClr val="black"/>
                </a:solidFill>
                <a:latin typeface="Times New Roman"/>
                <a:cs typeface="Times New Roman"/>
              </a:rPr>
              <a:t>proprietary</a:t>
            </a:r>
            <a:r>
              <a:rPr sz="750" spc="-128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750" spc="66" dirty="0">
                <a:solidFill>
                  <a:prstClr val="black"/>
                </a:solidFill>
                <a:latin typeface="Times New Roman"/>
                <a:cs typeface="Times New Roman"/>
              </a:rPr>
              <a:t>information </a:t>
            </a:r>
            <a:r>
              <a:rPr sz="750" spc="13" dirty="0">
                <a:solidFill>
                  <a:prstClr val="black"/>
                </a:solidFill>
                <a:latin typeface="Times New Roman"/>
                <a:cs typeface="Times New Roman"/>
              </a:rPr>
              <a:t>– </a:t>
            </a:r>
            <a:r>
              <a:rPr sz="750" spc="75" dirty="0">
                <a:solidFill>
                  <a:prstClr val="black"/>
                </a:solidFill>
                <a:latin typeface="Times New Roman"/>
                <a:cs typeface="Times New Roman"/>
              </a:rPr>
              <a:t>Confidential</a:t>
            </a:r>
            <a:endParaRPr sz="750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2061883" y="1210236"/>
            <a:ext cx="8068235" cy="44778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" name="object 12"/>
          <p:cNvSpPr txBox="1">
            <a:spLocks noGrp="1"/>
          </p:cNvSpPr>
          <p:nvPr>
            <p:ph type="title"/>
          </p:nvPr>
        </p:nvSpPr>
        <p:spPr>
          <a:xfrm>
            <a:off x="2392287" y="751211"/>
            <a:ext cx="1288676" cy="302689"/>
          </a:xfrm>
          <a:prstGeom prst="rect">
            <a:avLst/>
          </a:prstGeom>
        </p:spPr>
        <p:txBody>
          <a:bodyPr vert="horz" wrap="square" lIns="0" tIns="10646" rIns="0" bIns="0" rtlCol="0">
            <a:spAutoFit/>
          </a:bodyPr>
          <a:lstStyle/>
          <a:p>
            <a:pPr marL="11206">
              <a:spcBef>
                <a:spcPts val="84"/>
              </a:spcBef>
            </a:pPr>
            <a:r>
              <a:rPr sz="1897" spc="-331" dirty="0">
                <a:solidFill>
                  <a:srgbClr val="001F60"/>
                </a:solidFill>
              </a:rPr>
              <a:t>L</a:t>
            </a:r>
            <a:r>
              <a:rPr sz="1897" spc="-75" dirty="0">
                <a:solidFill>
                  <a:srgbClr val="001F60"/>
                </a:solidFill>
              </a:rPr>
              <a:t>i</a:t>
            </a:r>
            <a:r>
              <a:rPr sz="1897" spc="35" dirty="0">
                <a:solidFill>
                  <a:srgbClr val="001F60"/>
                </a:solidFill>
              </a:rPr>
              <a:t>t</a:t>
            </a:r>
            <a:r>
              <a:rPr sz="1897" spc="185" dirty="0">
                <a:solidFill>
                  <a:srgbClr val="001F60"/>
                </a:solidFill>
              </a:rPr>
              <a:t>h</a:t>
            </a:r>
            <a:r>
              <a:rPr sz="1897" spc="-75" dirty="0">
                <a:solidFill>
                  <a:srgbClr val="001F60"/>
                </a:solidFill>
              </a:rPr>
              <a:t>i</a:t>
            </a:r>
            <a:r>
              <a:rPr sz="1897" spc="185" dirty="0">
                <a:solidFill>
                  <a:srgbClr val="001F60"/>
                </a:solidFill>
              </a:rPr>
              <a:t>u</a:t>
            </a:r>
            <a:r>
              <a:rPr sz="1897" spc="300" dirty="0">
                <a:solidFill>
                  <a:srgbClr val="001F60"/>
                </a:solidFill>
              </a:rPr>
              <a:t>m</a:t>
            </a:r>
            <a:r>
              <a:rPr sz="1897" spc="159" dirty="0">
                <a:solidFill>
                  <a:srgbClr val="001F60"/>
                </a:solidFill>
              </a:rPr>
              <a:t>-</a:t>
            </a:r>
            <a:r>
              <a:rPr sz="1897" spc="-75" dirty="0">
                <a:solidFill>
                  <a:srgbClr val="001F60"/>
                </a:solidFill>
              </a:rPr>
              <a:t>i</a:t>
            </a:r>
            <a:r>
              <a:rPr sz="1897" spc="260" dirty="0">
                <a:solidFill>
                  <a:srgbClr val="001F60"/>
                </a:solidFill>
              </a:rPr>
              <a:t>o</a:t>
            </a:r>
            <a:r>
              <a:rPr sz="1897" spc="185" dirty="0">
                <a:solidFill>
                  <a:srgbClr val="001F60"/>
                </a:solidFill>
              </a:rPr>
              <a:t>n</a:t>
            </a:r>
            <a:endParaRPr sz="1897"/>
          </a:p>
        </p:txBody>
      </p:sp>
      <p:sp>
        <p:nvSpPr>
          <p:cNvPr id="13" name="object 13"/>
          <p:cNvSpPr txBox="1"/>
          <p:nvPr/>
        </p:nvSpPr>
        <p:spPr>
          <a:xfrm>
            <a:off x="6133198" y="1788478"/>
            <a:ext cx="3445249" cy="2961474"/>
          </a:xfrm>
          <a:prstGeom prst="rect">
            <a:avLst/>
          </a:prstGeom>
        </p:spPr>
        <p:txBody>
          <a:bodyPr vert="horz" wrap="square" lIns="0" tIns="84604" rIns="0" bIns="0" rtlCol="0">
            <a:spAutoFit/>
          </a:bodyPr>
          <a:lstStyle/>
          <a:p>
            <a:pPr marL="11206" defTabSz="806867">
              <a:spcBef>
                <a:spcPts val="666"/>
              </a:spcBef>
            </a:pPr>
            <a:r>
              <a:rPr sz="1324" spc="9" dirty="0">
                <a:solidFill>
                  <a:prstClr val="black"/>
                </a:solidFill>
                <a:latin typeface="Times New Roman"/>
                <a:cs typeface="Times New Roman"/>
              </a:rPr>
              <a:t>MAIN</a:t>
            </a:r>
            <a:r>
              <a:rPr sz="1324" spc="26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324" spc="-13" dirty="0">
                <a:solidFill>
                  <a:prstClr val="black"/>
                </a:solidFill>
                <a:latin typeface="Times New Roman"/>
                <a:cs typeface="Times New Roman"/>
              </a:rPr>
              <a:t>APPLICATIONS</a:t>
            </a:r>
            <a:endParaRPr sz="1324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211242" indent="-200036" defTabSz="806867">
              <a:spcBef>
                <a:spcPts val="631"/>
              </a:spcBef>
              <a:buClr>
                <a:srgbClr val="001F60"/>
              </a:buClr>
              <a:buSzPct val="117857"/>
              <a:buFontTx/>
              <a:buChar char=""/>
              <a:tabLst>
                <a:tab pos="211242" algn="l"/>
                <a:tab pos="211802" algn="l"/>
              </a:tabLst>
            </a:pPr>
            <a:r>
              <a:rPr sz="1235" spc="180" dirty="0">
                <a:solidFill>
                  <a:prstClr val="black"/>
                </a:solidFill>
                <a:latin typeface="Times New Roman"/>
                <a:cs typeface="Times New Roman"/>
              </a:rPr>
              <a:t>Space</a:t>
            </a:r>
            <a:r>
              <a:rPr sz="1235" spc="31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15" dirty="0">
                <a:solidFill>
                  <a:prstClr val="black"/>
                </a:solidFill>
                <a:latin typeface="Times New Roman"/>
                <a:cs typeface="Times New Roman"/>
              </a:rPr>
              <a:t>launchers</a:t>
            </a:r>
            <a:r>
              <a:rPr sz="12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216" dirty="0">
                <a:solidFill>
                  <a:prstClr val="black"/>
                </a:solidFill>
                <a:latin typeface="Times New Roman"/>
                <a:cs typeface="Times New Roman"/>
              </a:rPr>
              <a:t>and</a:t>
            </a:r>
            <a:r>
              <a:rPr sz="1235" spc="26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62" dirty="0">
                <a:solidFill>
                  <a:prstClr val="black"/>
                </a:solidFill>
                <a:latin typeface="Times New Roman"/>
                <a:cs typeface="Times New Roman"/>
              </a:rPr>
              <a:t>satellites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211242" indent="-200036" defTabSz="806867">
              <a:spcBef>
                <a:spcPts val="432"/>
              </a:spcBef>
              <a:buClr>
                <a:srgbClr val="001F60"/>
              </a:buClr>
              <a:buSzPct val="117857"/>
              <a:buFontTx/>
              <a:buChar char=""/>
              <a:tabLst>
                <a:tab pos="211242" algn="l"/>
                <a:tab pos="211802" algn="l"/>
              </a:tabLst>
            </a:pPr>
            <a:r>
              <a:rPr sz="1235" spc="97" dirty="0">
                <a:solidFill>
                  <a:prstClr val="black"/>
                </a:solidFill>
                <a:latin typeface="Times New Roman"/>
                <a:cs typeface="Times New Roman"/>
              </a:rPr>
              <a:t>Marine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211242" indent="-200036" defTabSz="806867">
              <a:spcBef>
                <a:spcPts val="432"/>
              </a:spcBef>
              <a:buClr>
                <a:srgbClr val="001F60"/>
              </a:buClr>
              <a:buSzPct val="117857"/>
              <a:buFontTx/>
              <a:buChar char=""/>
              <a:tabLst>
                <a:tab pos="211242" algn="l"/>
                <a:tab pos="211802" algn="l"/>
              </a:tabLst>
            </a:pPr>
            <a:r>
              <a:rPr sz="1235" spc="9" dirty="0">
                <a:solidFill>
                  <a:prstClr val="black"/>
                </a:solidFill>
                <a:latin typeface="Times New Roman"/>
                <a:cs typeface="Times New Roman"/>
              </a:rPr>
              <a:t>Military</a:t>
            </a:r>
            <a:r>
              <a:rPr sz="1235" spc="22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71" dirty="0">
                <a:solidFill>
                  <a:prstClr val="black"/>
                </a:solidFill>
                <a:latin typeface="Times New Roman"/>
                <a:cs typeface="Times New Roman"/>
              </a:rPr>
              <a:t>systems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211242" indent="-200036" defTabSz="806867">
              <a:spcBef>
                <a:spcPts val="437"/>
              </a:spcBef>
              <a:buClr>
                <a:srgbClr val="001F60"/>
              </a:buClr>
              <a:buSzPct val="117857"/>
              <a:buFontTx/>
              <a:buChar char=""/>
              <a:tabLst>
                <a:tab pos="211242" algn="l"/>
                <a:tab pos="211802" algn="l"/>
              </a:tabLst>
            </a:pPr>
            <a:r>
              <a:rPr sz="1235" spc="53" dirty="0">
                <a:solidFill>
                  <a:prstClr val="black"/>
                </a:solidFill>
                <a:latin typeface="Times New Roman"/>
                <a:cs typeface="Times New Roman"/>
              </a:rPr>
              <a:t>Aircraft </a:t>
            </a:r>
            <a:r>
              <a:rPr sz="1235" spc="97" dirty="0">
                <a:solidFill>
                  <a:prstClr val="black"/>
                </a:solidFill>
                <a:latin typeface="Times New Roman"/>
                <a:cs typeface="Times New Roman"/>
              </a:rPr>
              <a:t>safety </a:t>
            </a:r>
            <a:r>
              <a:rPr sz="1235" spc="212" dirty="0">
                <a:solidFill>
                  <a:prstClr val="black"/>
                </a:solidFill>
                <a:latin typeface="Times New Roman"/>
                <a:cs typeface="Times New Roman"/>
              </a:rPr>
              <a:t>and</a:t>
            </a:r>
            <a:r>
              <a:rPr sz="1235" spc="-101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75" dirty="0">
                <a:solidFill>
                  <a:prstClr val="black"/>
                </a:solidFill>
                <a:latin typeface="Times New Roman"/>
                <a:cs typeface="Times New Roman"/>
              </a:rPr>
              <a:t>starting </a:t>
            </a:r>
            <a:r>
              <a:rPr sz="1235" spc="66" dirty="0">
                <a:solidFill>
                  <a:prstClr val="black"/>
                </a:solidFill>
                <a:latin typeface="Times New Roman"/>
                <a:cs typeface="Times New Roman"/>
              </a:rPr>
              <a:t>systems,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211242" indent="-200036" defTabSz="806867">
              <a:spcBef>
                <a:spcPts val="432"/>
              </a:spcBef>
              <a:buClr>
                <a:srgbClr val="001F60"/>
              </a:buClr>
              <a:buSzPct val="117857"/>
              <a:buFontTx/>
              <a:buChar char=""/>
              <a:tabLst>
                <a:tab pos="211242" algn="l"/>
                <a:tab pos="211802" algn="l"/>
              </a:tabLst>
            </a:pPr>
            <a:r>
              <a:rPr sz="1235" spc="124" dirty="0">
                <a:solidFill>
                  <a:prstClr val="black"/>
                </a:solidFill>
                <a:latin typeface="Times New Roman"/>
                <a:cs typeface="Times New Roman"/>
              </a:rPr>
              <a:t>Storage </a:t>
            </a:r>
            <a:r>
              <a:rPr sz="1235" spc="31" dirty="0">
                <a:solidFill>
                  <a:prstClr val="black"/>
                </a:solidFill>
                <a:latin typeface="Times New Roman"/>
                <a:cs typeface="Times New Roman"/>
              </a:rPr>
              <a:t>for </a:t>
            </a:r>
            <a:r>
              <a:rPr sz="1235" spc="150" dirty="0">
                <a:solidFill>
                  <a:prstClr val="black"/>
                </a:solidFill>
                <a:latin typeface="Times New Roman"/>
                <a:cs typeface="Times New Roman"/>
              </a:rPr>
              <a:t>renewable </a:t>
            </a:r>
            <a:r>
              <a:rPr sz="1235" spc="137" dirty="0">
                <a:solidFill>
                  <a:prstClr val="black"/>
                </a:solidFill>
                <a:latin typeface="Times New Roman"/>
                <a:cs typeface="Times New Roman"/>
              </a:rPr>
              <a:t>energy</a:t>
            </a:r>
            <a:r>
              <a:rPr sz="1235" spc="-18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57" dirty="0">
                <a:solidFill>
                  <a:prstClr val="black"/>
                </a:solidFill>
                <a:latin typeface="Times New Roman"/>
                <a:cs typeface="Times New Roman"/>
              </a:rPr>
              <a:t>installations,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211242" indent="-200036" defTabSz="806867">
              <a:spcBef>
                <a:spcPts val="437"/>
              </a:spcBef>
              <a:buClr>
                <a:srgbClr val="001F60"/>
              </a:buClr>
              <a:buSzPct val="117857"/>
              <a:buFontTx/>
              <a:buChar char=""/>
              <a:tabLst>
                <a:tab pos="211242" algn="l"/>
                <a:tab pos="211802" algn="l"/>
              </a:tabLst>
            </a:pPr>
            <a:r>
              <a:rPr sz="1235" spc="101" dirty="0">
                <a:solidFill>
                  <a:prstClr val="black"/>
                </a:solidFill>
                <a:latin typeface="Times New Roman"/>
                <a:cs typeface="Times New Roman"/>
              </a:rPr>
              <a:t>Back </a:t>
            </a:r>
            <a:r>
              <a:rPr sz="1235" spc="172" dirty="0">
                <a:solidFill>
                  <a:prstClr val="black"/>
                </a:solidFill>
                <a:latin typeface="Times New Roman"/>
                <a:cs typeface="Times New Roman"/>
              </a:rPr>
              <a:t>up </a:t>
            </a:r>
            <a:r>
              <a:rPr sz="1235" spc="31" dirty="0">
                <a:solidFill>
                  <a:prstClr val="black"/>
                </a:solidFill>
                <a:latin typeface="Times New Roman"/>
                <a:cs typeface="Times New Roman"/>
              </a:rPr>
              <a:t>for </a:t>
            </a:r>
            <a:r>
              <a:rPr sz="1235" spc="49" dirty="0">
                <a:solidFill>
                  <a:prstClr val="black"/>
                </a:solidFill>
                <a:latin typeface="Times New Roman"/>
                <a:cs typeface="Times New Roman"/>
              </a:rPr>
              <a:t>industrial</a:t>
            </a:r>
            <a:r>
              <a:rPr sz="1235" spc="-194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57" dirty="0">
                <a:solidFill>
                  <a:prstClr val="black"/>
                </a:solidFill>
                <a:latin typeface="Times New Roman"/>
                <a:cs typeface="Times New Roman"/>
              </a:rPr>
              <a:t>installations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211242" indent="-200036" defTabSz="806867">
              <a:spcBef>
                <a:spcPts val="432"/>
              </a:spcBef>
              <a:buClr>
                <a:srgbClr val="001F60"/>
              </a:buClr>
              <a:buSzPct val="117857"/>
              <a:buFontTx/>
              <a:buChar char=""/>
              <a:tabLst>
                <a:tab pos="211242" algn="l"/>
                <a:tab pos="211802" algn="l"/>
              </a:tabLst>
            </a:pPr>
            <a:r>
              <a:rPr sz="1235" spc="101" dirty="0">
                <a:solidFill>
                  <a:prstClr val="black"/>
                </a:solidFill>
                <a:latin typeface="Times New Roman"/>
                <a:cs typeface="Times New Roman"/>
              </a:rPr>
              <a:t>Back </a:t>
            </a:r>
            <a:r>
              <a:rPr sz="1235" spc="172" dirty="0">
                <a:solidFill>
                  <a:prstClr val="black"/>
                </a:solidFill>
                <a:latin typeface="Times New Roman"/>
                <a:cs typeface="Times New Roman"/>
              </a:rPr>
              <a:t>up </a:t>
            </a:r>
            <a:r>
              <a:rPr sz="1235" spc="31" dirty="0">
                <a:solidFill>
                  <a:prstClr val="black"/>
                </a:solidFill>
                <a:latin typeface="Times New Roman"/>
                <a:cs typeface="Times New Roman"/>
              </a:rPr>
              <a:t>for </a:t>
            </a:r>
            <a:r>
              <a:rPr sz="1235" spc="124" dirty="0">
                <a:solidFill>
                  <a:prstClr val="black"/>
                </a:solidFill>
                <a:latin typeface="Times New Roman"/>
                <a:cs typeface="Times New Roman"/>
              </a:rPr>
              <a:t>telecommunications</a:t>
            </a:r>
            <a:r>
              <a:rPr sz="1235" spc="-207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79" dirty="0">
                <a:solidFill>
                  <a:prstClr val="black"/>
                </a:solidFill>
                <a:latin typeface="Times New Roman"/>
                <a:cs typeface="Times New Roman"/>
              </a:rPr>
              <a:t>networks,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211242" indent="-200036" defTabSz="806867">
              <a:spcBef>
                <a:spcPts val="432"/>
              </a:spcBef>
              <a:buClr>
                <a:srgbClr val="001F60"/>
              </a:buClr>
              <a:buSzPct val="117857"/>
              <a:buFontTx/>
              <a:buChar char=""/>
              <a:tabLst>
                <a:tab pos="211242" algn="l"/>
                <a:tab pos="211802" algn="l"/>
              </a:tabLst>
            </a:pPr>
            <a:r>
              <a:rPr sz="1235" spc="84" dirty="0">
                <a:solidFill>
                  <a:prstClr val="black"/>
                </a:solidFill>
                <a:latin typeface="Times New Roman"/>
                <a:cs typeface="Times New Roman"/>
              </a:rPr>
              <a:t>Motive</a:t>
            </a:r>
            <a:r>
              <a:rPr sz="1235" spc="-9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46" dirty="0">
                <a:solidFill>
                  <a:prstClr val="black"/>
                </a:solidFill>
                <a:latin typeface="Times New Roman"/>
                <a:cs typeface="Times New Roman"/>
              </a:rPr>
              <a:t>power</a:t>
            </a:r>
            <a:r>
              <a:rPr sz="1235" spc="26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35" dirty="0">
                <a:solidFill>
                  <a:prstClr val="black"/>
                </a:solidFill>
                <a:latin typeface="Times New Roman"/>
                <a:cs typeface="Times New Roman"/>
              </a:rPr>
              <a:t>for</a:t>
            </a:r>
            <a:r>
              <a:rPr sz="1235" spc="4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63" dirty="0">
                <a:solidFill>
                  <a:prstClr val="black"/>
                </a:solidFill>
                <a:latin typeface="Times New Roman"/>
                <a:cs typeface="Times New Roman"/>
              </a:rPr>
              <a:t>road</a:t>
            </a:r>
            <a:r>
              <a:rPr sz="1235" spc="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93" dirty="0">
                <a:solidFill>
                  <a:prstClr val="black"/>
                </a:solidFill>
                <a:latin typeface="Times New Roman"/>
                <a:cs typeface="Times New Roman"/>
              </a:rPr>
              <a:t>vehicles</a:t>
            </a:r>
            <a:r>
              <a:rPr sz="12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50" dirty="0">
                <a:solidFill>
                  <a:prstClr val="black"/>
                </a:solidFill>
                <a:latin typeface="Times New Roman"/>
                <a:cs typeface="Times New Roman"/>
              </a:rPr>
              <a:t>(eg</a:t>
            </a:r>
            <a:r>
              <a:rPr sz="1235" spc="49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01" dirty="0">
                <a:solidFill>
                  <a:prstClr val="black"/>
                </a:solidFill>
                <a:latin typeface="Times New Roman"/>
                <a:cs typeface="Times New Roman"/>
              </a:rPr>
              <a:t>buses)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211242" marR="282403" indent="-200036" defTabSz="806867">
              <a:lnSpc>
                <a:spcPts val="1474"/>
              </a:lnSpc>
              <a:spcBef>
                <a:spcPts val="715"/>
              </a:spcBef>
              <a:buClr>
                <a:srgbClr val="001F60"/>
              </a:buClr>
              <a:buSzPct val="117857"/>
              <a:buFontTx/>
              <a:buChar char=""/>
              <a:tabLst>
                <a:tab pos="211242" algn="l"/>
                <a:tab pos="211802" algn="l"/>
              </a:tabLst>
            </a:pPr>
            <a:r>
              <a:rPr sz="1235" spc="84" dirty="0">
                <a:solidFill>
                  <a:prstClr val="black"/>
                </a:solidFill>
                <a:latin typeface="Times New Roman"/>
                <a:cs typeface="Times New Roman"/>
              </a:rPr>
              <a:t>Motive </a:t>
            </a:r>
            <a:r>
              <a:rPr sz="1235" spc="146" dirty="0">
                <a:solidFill>
                  <a:prstClr val="black"/>
                </a:solidFill>
                <a:latin typeface="Times New Roman"/>
                <a:cs typeface="Times New Roman"/>
              </a:rPr>
              <a:t>power </a:t>
            </a:r>
            <a:r>
              <a:rPr sz="1235" spc="35" dirty="0">
                <a:solidFill>
                  <a:prstClr val="black"/>
                </a:solidFill>
                <a:latin typeface="Times New Roman"/>
                <a:cs typeface="Times New Roman"/>
              </a:rPr>
              <a:t>for </a:t>
            </a:r>
            <a:r>
              <a:rPr sz="1235" spc="49" dirty="0">
                <a:solidFill>
                  <a:prstClr val="black"/>
                </a:solidFill>
                <a:latin typeface="Times New Roman"/>
                <a:cs typeface="Times New Roman"/>
              </a:rPr>
              <a:t>industrial </a:t>
            </a:r>
            <a:r>
              <a:rPr sz="1235" spc="88" dirty="0">
                <a:solidFill>
                  <a:prstClr val="black"/>
                </a:solidFill>
                <a:latin typeface="Times New Roman"/>
                <a:cs typeface="Times New Roman"/>
              </a:rPr>
              <a:t>vehicles</a:t>
            </a:r>
            <a:r>
              <a:rPr sz="1235" spc="-216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50" dirty="0">
                <a:solidFill>
                  <a:prstClr val="black"/>
                </a:solidFill>
                <a:latin typeface="Times New Roman"/>
                <a:cs typeface="Times New Roman"/>
              </a:rPr>
              <a:t>(eg  </a:t>
            </a:r>
            <a:r>
              <a:rPr sz="1235" dirty="0">
                <a:solidFill>
                  <a:prstClr val="black"/>
                </a:solidFill>
                <a:latin typeface="Times New Roman"/>
                <a:cs typeface="Times New Roman"/>
              </a:rPr>
              <a:t>forklifts)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211242" indent="-200036" defTabSz="806867">
              <a:spcBef>
                <a:spcPts val="427"/>
              </a:spcBef>
              <a:buClr>
                <a:srgbClr val="001F60"/>
              </a:buClr>
              <a:buSzPct val="117857"/>
              <a:buFontTx/>
              <a:buChar char=""/>
              <a:tabLst>
                <a:tab pos="211242" algn="l"/>
                <a:tab pos="211802" algn="l"/>
              </a:tabLst>
            </a:pPr>
            <a:r>
              <a:rPr sz="1235" spc="57" dirty="0">
                <a:solidFill>
                  <a:prstClr val="black"/>
                </a:solidFill>
                <a:latin typeface="Times New Roman"/>
                <a:cs typeface="Times New Roman"/>
              </a:rPr>
              <a:t>Railways </a:t>
            </a:r>
            <a:r>
              <a:rPr sz="1235" spc="154" dirty="0">
                <a:solidFill>
                  <a:prstClr val="black"/>
                </a:solidFill>
                <a:latin typeface="Times New Roman"/>
                <a:cs typeface="Times New Roman"/>
              </a:rPr>
              <a:t>back-up </a:t>
            </a:r>
            <a:r>
              <a:rPr sz="1235" spc="212" dirty="0">
                <a:solidFill>
                  <a:prstClr val="black"/>
                </a:solidFill>
                <a:latin typeface="Times New Roman"/>
                <a:cs typeface="Times New Roman"/>
              </a:rPr>
              <a:t>and</a:t>
            </a:r>
            <a:r>
              <a:rPr sz="1235" spc="-168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75" dirty="0">
                <a:solidFill>
                  <a:prstClr val="black"/>
                </a:solidFill>
                <a:latin typeface="Times New Roman"/>
                <a:cs typeface="Times New Roman"/>
              </a:rPr>
              <a:t>hybrid </a:t>
            </a:r>
            <a:r>
              <a:rPr sz="1235" spc="106" dirty="0">
                <a:solidFill>
                  <a:prstClr val="black"/>
                </a:solidFill>
                <a:latin typeface="Times New Roman"/>
                <a:cs typeface="Times New Roman"/>
              </a:rPr>
              <a:t>traction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2720789" y="4164554"/>
            <a:ext cx="1372944" cy="98298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4132729" y="2097741"/>
            <a:ext cx="1464385" cy="91977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4132729" y="3047104"/>
            <a:ext cx="1464385" cy="1073075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2720789" y="2093707"/>
            <a:ext cx="1372944" cy="1017941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4127350" y="4164554"/>
            <a:ext cx="1469764" cy="978946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2703306" y="4047565"/>
            <a:ext cx="1413286" cy="907676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2720788" y="3182919"/>
            <a:ext cx="1379668" cy="876748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2580519" y="6152956"/>
            <a:ext cx="611841" cy="113768"/>
          </a:xfrm>
          <a:prstGeom prst="rect">
            <a:avLst/>
          </a:prstGeom>
        </p:spPr>
        <p:txBody>
          <a:bodyPr vert="horz" wrap="square" lIns="0" tIns="11766" rIns="0" bIns="0" rtlCol="0">
            <a:spAutoFit/>
          </a:bodyPr>
          <a:lstStyle/>
          <a:p>
            <a:pPr marL="11206" defTabSz="806867">
              <a:spcBef>
                <a:spcPts val="93"/>
              </a:spcBef>
            </a:pPr>
            <a:r>
              <a:rPr sz="662" spc="-31" dirty="0">
                <a:solidFill>
                  <a:prstClr val="black"/>
                </a:solidFill>
                <a:latin typeface="Times New Roman"/>
                <a:cs typeface="Times New Roman"/>
              </a:rPr>
              <a:t>EVOLIS- </a:t>
            </a:r>
            <a:r>
              <a:rPr sz="662" spc="35" dirty="0">
                <a:solidFill>
                  <a:prstClr val="black"/>
                </a:solidFill>
                <a:latin typeface="Times New Roman"/>
                <a:cs typeface="Times New Roman"/>
              </a:rPr>
              <a:t>Saft</a:t>
            </a:r>
            <a:r>
              <a:rPr sz="662" spc="-57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662" spc="18" dirty="0">
                <a:solidFill>
                  <a:prstClr val="black"/>
                </a:solidFill>
                <a:latin typeface="Times New Roman"/>
                <a:cs typeface="Times New Roman"/>
              </a:rPr>
              <a:t>6-</a:t>
            </a:r>
            <a:endParaRPr sz="662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2320927" y="6088314"/>
            <a:ext cx="763681" cy="320179"/>
          </a:xfrm>
          <a:prstGeom prst="rect">
            <a:avLst/>
          </a:prstGeom>
        </p:spPr>
        <p:txBody>
          <a:bodyPr vert="horz" wrap="square" lIns="0" tIns="14568" rIns="0" bIns="0" rtlCol="0">
            <a:spAutoFit/>
          </a:bodyPr>
          <a:lstStyle/>
          <a:p>
            <a:pPr marL="11206" defTabSz="806867">
              <a:spcBef>
                <a:spcPts val="115"/>
              </a:spcBef>
              <a:tabLst>
                <a:tab pos="270636" algn="l"/>
              </a:tabLst>
            </a:pPr>
            <a:r>
              <a:rPr sz="1985" spc="119" dirty="0">
                <a:solidFill>
                  <a:prstClr val="black"/>
                </a:solidFill>
                <a:latin typeface="Times New Roman"/>
                <a:cs typeface="Times New Roman"/>
              </a:rPr>
              <a:t>7	</a:t>
            </a:r>
            <a:r>
              <a:rPr sz="993" spc="53" baseline="3703" dirty="0">
                <a:solidFill>
                  <a:prstClr val="black"/>
                </a:solidFill>
                <a:latin typeface="Times New Roman"/>
                <a:cs typeface="Times New Roman"/>
              </a:rPr>
              <a:t>7 NOV</a:t>
            </a:r>
            <a:r>
              <a:rPr sz="993" spc="-59" baseline="3703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993" spc="53" baseline="3703" dirty="0">
                <a:solidFill>
                  <a:prstClr val="black"/>
                </a:solidFill>
                <a:latin typeface="Times New Roman"/>
                <a:cs typeface="Times New Roman"/>
              </a:rPr>
              <a:t>2019</a:t>
            </a:r>
            <a:endParaRPr sz="993" baseline="3703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061883" y="1011218"/>
            <a:ext cx="8068235" cy="10085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9570720" y="6154718"/>
            <a:ext cx="145228" cy="9412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9793941" y="6173545"/>
            <a:ext cx="48745" cy="75640"/>
          </a:xfrm>
          <a:custGeom>
            <a:avLst/>
            <a:gdLst/>
            <a:ahLst/>
            <a:cxnLst/>
            <a:rect l="l" t="t" r="r" b="b"/>
            <a:pathLst>
              <a:path w="55245" h="85725">
                <a:moveTo>
                  <a:pt x="0" y="0"/>
                </a:moveTo>
                <a:lnTo>
                  <a:pt x="54864" y="0"/>
                </a:lnTo>
                <a:lnTo>
                  <a:pt x="54864" y="85344"/>
                </a:lnTo>
                <a:lnTo>
                  <a:pt x="0" y="85344"/>
                </a:lnTo>
                <a:lnTo>
                  <a:pt x="0" y="0"/>
                </a:lnTo>
                <a:close/>
              </a:path>
            </a:pathLst>
          </a:custGeom>
          <a:solidFill>
            <a:srgbClr val="C11F2D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9740153" y="6164804"/>
            <a:ext cx="156322" cy="0"/>
          </a:xfrm>
          <a:custGeom>
            <a:avLst/>
            <a:gdLst/>
            <a:ahLst/>
            <a:cxnLst/>
            <a:rect l="l" t="t" r="r" b="b"/>
            <a:pathLst>
              <a:path w="177165">
                <a:moveTo>
                  <a:pt x="0" y="0"/>
                </a:moveTo>
                <a:lnTo>
                  <a:pt x="176784" y="0"/>
                </a:lnTo>
              </a:path>
            </a:pathLst>
          </a:custGeom>
          <a:ln w="22860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9194201" y="6154718"/>
            <a:ext cx="151952" cy="9412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9373048" y="6154718"/>
            <a:ext cx="160020" cy="9412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9194202" y="6312722"/>
            <a:ext cx="705971" cy="0"/>
          </a:xfrm>
          <a:custGeom>
            <a:avLst/>
            <a:gdLst/>
            <a:ahLst/>
            <a:cxnLst/>
            <a:rect l="l" t="t" r="r" b="b"/>
            <a:pathLst>
              <a:path w="800100">
                <a:moveTo>
                  <a:pt x="0" y="0"/>
                </a:moveTo>
                <a:lnTo>
                  <a:pt x="800100" y="0"/>
                </a:lnTo>
              </a:path>
            </a:pathLst>
          </a:custGeom>
          <a:ln w="53340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2538581" y="6196405"/>
            <a:ext cx="0" cy="118782"/>
          </a:xfrm>
          <a:custGeom>
            <a:avLst/>
            <a:gdLst/>
            <a:ahLst/>
            <a:cxnLst/>
            <a:rect l="l" t="t" r="r" b="b"/>
            <a:pathLst>
              <a:path h="134620">
                <a:moveTo>
                  <a:pt x="0" y="0"/>
                </a:moveTo>
                <a:lnTo>
                  <a:pt x="0" y="134112"/>
                </a:lnTo>
              </a:path>
            </a:pathLst>
          </a:custGeom>
          <a:ln w="10668">
            <a:solidFill>
              <a:srgbClr val="595959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061883" y="1210236"/>
            <a:ext cx="8068235" cy="44778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2665228" y="698796"/>
            <a:ext cx="3278281" cy="309421"/>
          </a:xfrm>
          <a:prstGeom prst="rect">
            <a:avLst/>
          </a:prstGeom>
        </p:spPr>
        <p:txBody>
          <a:bodyPr vert="horz" wrap="square" lIns="0" tIns="10646" rIns="0" bIns="0" rtlCol="0">
            <a:spAutoFit/>
          </a:bodyPr>
          <a:lstStyle/>
          <a:p>
            <a:pPr marL="11206">
              <a:spcBef>
                <a:spcPts val="84"/>
              </a:spcBef>
            </a:pPr>
            <a:r>
              <a:rPr sz="1941" spc="44" dirty="0">
                <a:solidFill>
                  <a:srgbClr val="004660"/>
                </a:solidFill>
              </a:rPr>
              <a:t>Les </a:t>
            </a:r>
            <a:r>
              <a:rPr sz="1941" spc="172" dirty="0">
                <a:solidFill>
                  <a:srgbClr val="004660"/>
                </a:solidFill>
              </a:rPr>
              <a:t>principaux</a:t>
            </a:r>
            <a:r>
              <a:rPr sz="1941" spc="49" dirty="0">
                <a:solidFill>
                  <a:srgbClr val="004660"/>
                </a:solidFill>
              </a:rPr>
              <a:t> </a:t>
            </a:r>
            <a:r>
              <a:rPr sz="1941" spc="234" dirty="0">
                <a:solidFill>
                  <a:srgbClr val="004660"/>
                </a:solidFill>
              </a:rPr>
              <a:t>composants</a:t>
            </a:r>
            <a:endParaRPr sz="1941"/>
          </a:p>
        </p:txBody>
      </p:sp>
      <p:sp>
        <p:nvSpPr>
          <p:cNvPr id="12" name="object 12"/>
          <p:cNvSpPr txBox="1"/>
          <p:nvPr/>
        </p:nvSpPr>
        <p:spPr>
          <a:xfrm>
            <a:off x="2396321" y="1792055"/>
            <a:ext cx="4970369" cy="30371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16023" indent="-304816" defTabSz="806867">
              <a:lnSpc>
                <a:spcPts val="2347"/>
              </a:lnSpc>
              <a:buClr>
                <a:srgbClr val="112F52"/>
              </a:buClr>
              <a:buSzPct val="109523"/>
              <a:buFontTx/>
              <a:buChar char="–"/>
              <a:tabLst>
                <a:tab pos="316023" algn="l"/>
                <a:tab pos="316583" algn="l"/>
              </a:tabLst>
            </a:pPr>
            <a:r>
              <a:rPr sz="1853" spc="13" dirty="0">
                <a:solidFill>
                  <a:prstClr val="black"/>
                </a:solidFill>
                <a:latin typeface="Times New Roman"/>
                <a:cs typeface="Times New Roman"/>
              </a:rPr>
              <a:t>Un </a:t>
            </a:r>
            <a:r>
              <a:rPr sz="1853" spc="221" dirty="0">
                <a:solidFill>
                  <a:prstClr val="black"/>
                </a:solidFill>
                <a:latin typeface="Times New Roman"/>
                <a:cs typeface="Times New Roman"/>
              </a:rPr>
              <a:t>accumulateur </a:t>
            </a:r>
            <a:r>
              <a:rPr sz="1853" spc="18" dirty="0">
                <a:solidFill>
                  <a:prstClr val="black"/>
                </a:solidFill>
                <a:latin typeface="Times New Roman"/>
                <a:cs typeface="Times New Roman"/>
              </a:rPr>
              <a:t>Li-ion </a:t>
            </a:r>
            <a:r>
              <a:rPr sz="1853" spc="163" dirty="0">
                <a:solidFill>
                  <a:prstClr val="black"/>
                </a:solidFill>
                <a:latin typeface="Times New Roman"/>
                <a:cs typeface="Times New Roman"/>
              </a:rPr>
              <a:t>est </a:t>
            </a:r>
            <a:r>
              <a:rPr sz="1853" spc="159" dirty="0">
                <a:solidFill>
                  <a:prstClr val="black"/>
                </a:solidFill>
                <a:latin typeface="Times New Roman"/>
                <a:cs typeface="Times New Roman"/>
              </a:rPr>
              <a:t>constitué </a:t>
            </a:r>
            <a:r>
              <a:rPr sz="1853" spc="335" dirty="0">
                <a:solidFill>
                  <a:prstClr val="black"/>
                </a:solidFill>
                <a:latin typeface="Times New Roman"/>
                <a:cs typeface="Times New Roman"/>
              </a:rPr>
              <a:t>de</a:t>
            </a:r>
            <a:r>
              <a:rPr sz="1853" spc="-18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853" dirty="0">
                <a:solidFill>
                  <a:prstClr val="black"/>
                </a:solidFill>
                <a:latin typeface="Times New Roman"/>
                <a:cs typeface="Times New Roman"/>
              </a:rPr>
              <a:t>:</a:t>
            </a:r>
            <a:endParaRPr sz="1853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85801" lvl="1" indent="-239819" defTabSz="806867">
              <a:spcBef>
                <a:spcPts val="1910"/>
              </a:spcBef>
              <a:buClr>
                <a:srgbClr val="008EC1"/>
              </a:buClr>
              <a:buFontTx/>
              <a:buChar char="•"/>
              <a:tabLst>
                <a:tab pos="485801" algn="l"/>
                <a:tab pos="486361" algn="l"/>
              </a:tabLst>
            </a:pPr>
            <a:r>
              <a:rPr sz="1588" spc="110" dirty="0">
                <a:solidFill>
                  <a:prstClr val="black"/>
                </a:solidFill>
                <a:latin typeface="Times New Roman"/>
                <a:cs typeface="Times New Roman"/>
              </a:rPr>
              <a:t>Une </a:t>
            </a:r>
            <a:r>
              <a:rPr sz="1588" spc="185" dirty="0">
                <a:solidFill>
                  <a:prstClr val="black"/>
                </a:solidFill>
                <a:latin typeface="Times New Roman"/>
                <a:cs typeface="Times New Roman"/>
              </a:rPr>
              <a:t>électrode </a:t>
            </a:r>
            <a:r>
              <a:rPr sz="1588" spc="176" dirty="0">
                <a:solidFill>
                  <a:prstClr val="black"/>
                </a:solidFill>
                <a:latin typeface="Times New Roman"/>
                <a:cs typeface="Times New Roman"/>
              </a:rPr>
              <a:t>négative</a:t>
            </a:r>
            <a:r>
              <a:rPr sz="1588" spc="-194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202" dirty="0">
                <a:solidFill>
                  <a:prstClr val="black"/>
                </a:solidFill>
                <a:latin typeface="Times New Roman"/>
                <a:cs typeface="Times New Roman"/>
              </a:rPr>
              <a:t>(anode)</a:t>
            </a:r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03433" lvl="1" defTabSz="806867">
              <a:spcBef>
                <a:spcPts val="9"/>
              </a:spcBef>
              <a:buClr>
                <a:srgbClr val="008EC1"/>
              </a:buClr>
              <a:buFont typeface="Times New Roman"/>
              <a:buChar char="•"/>
            </a:pPr>
            <a:endParaRPr sz="1677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85801" lvl="1" indent="-239819" defTabSz="806867">
              <a:spcBef>
                <a:spcPts val="4"/>
              </a:spcBef>
              <a:buClr>
                <a:srgbClr val="008EC1"/>
              </a:buClr>
              <a:buFontTx/>
              <a:buChar char="•"/>
              <a:tabLst>
                <a:tab pos="485801" algn="l"/>
                <a:tab pos="486361" algn="l"/>
              </a:tabLst>
            </a:pPr>
            <a:r>
              <a:rPr sz="1588" spc="110" dirty="0">
                <a:solidFill>
                  <a:prstClr val="black"/>
                </a:solidFill>
                <a:latin typeface="Times New Roman"/>
                <a:cs typeface="Times New Roman"/>
              </a:rPr>
              <a:t>Une </a:t>
            </a:r>
            <a:r>
              <a:rPr sz="1588" spc="185" dirty="0">
                <a:solidFill>
                  <a:prstClr val="black"/>
                </a:solidFill>
                <a:latin typeface="Times New Roman"/>
                <a:cs typeface="Times New Roman"/>
              </a:rPr>
              <a:t>électrode </a:t>
            </a:r>
            <a:r>
              <a:rPr sz="1588" spc="106" dirty="0">
                <a:solidFill>
                  <a:prstClr val="black"/>
                </a:solidFill>
                <a:latin typeface="Times New Roman"/>
                <a:cs typeface="Times New Roman"/>
              </a:rPr>
              <a:t>positive</a:t>
            </a:r>
            <a:r>
              <a:rPr sz="1588" spc="-18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94" dirty="0">
                <a:solidFill>
                  <a:prstClr val="black"/>
                </a:solidFill>
                <a:latin typeface="Times New Roman"/>
                <a:cs typeface="Times New Roman"/>
              </a:rPr>
              <a:t>(cathode)</a:t>
            </a:r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03433" lvl="1" defTabSz="806867">
              <a:spcBef>
                <a:spcPts val="9"/>
              </a:spcBef>
              <a:buClr>
                <a:srgbClr val="008EC1"/>
              </a:buClr>
              <a:buFont typeface="Times New Roman"/>
              <a:buChar char="•"/>
            </a:pPr>
            <a:endParaRPr sz="1677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85801" lvl="1" indent="-239819" defTabSz="806867">
              <a:buClr>
                <a:srgbClr val="008EC1"/>
              </a:buClr>
              <a:buFontTx/>
              <a:buChar char="•"/>
              <a:tabLst>
                <a:tab pos="485801" algn="l"/>
                <a:tab pos="486361" algn="l"/>
              </a:tabLst>
            </a:pPr>
            <a:r>
              <a:rPr sz="1588" spc="137" dirty="0">
                <a:solidFill>
                  <a:prstClr val="black"/>
                </a:solidFill>
                <a:latin typeface="Times New Roman"/>
                <a:cs typeface="Times New Roman"/>
              </a:rPr>
              <a:t>De </a:t>
            </a:r>
            <a:r>
              <a:rPr sz="1588" spc="101" dirty="0">
                <a:solidFill>
                  <a:prstClr val="black"/>
                </a:solidFill>
                <a:latin typeface="Times New Roman"/>
                <a:cs typeface="Times New Roman"/>
              </a:rPr>
              <a:t>l’électrolyte </a:t>
            </a:r>
            <a:r>
              <a:rPr sz="1588" spc="106" dirty="0">
                <a:solidFill>
                  <a:prstClr val="black"/>
                </a:solidFill>
                <a:latin typeface="Times New Roman"/>
                <a:cs typeface="Times New Roman"/>
              </a:rPr>
              <a:t>(liquide </a:t>
            </a:r>
            <a:r>
              <a:rPr sz="1588" spc="265" dirty="0">
                <a:solidFill>
                  <a:prstClr val="black"/>
                </a:solidFill>
                <a:latin typeface="Times New Roman"/>
                <a:cs typeface="Times New Roman"/>
              </a:rPr>
              <a:t>avec</a:t>
            </a:r>
            <a:r>
              <a:rPr sz="1588" spc="-234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97" dirty="0">
                <a:solidFill>
                  <a:prstClr val="black"/>
                </a:solidFill>
                <a:latin typeface="Times New Roman"/>
                <a:cs typeface="Times New Roman"/>
              </a:rPr>
              <a:t>ions </a:t>
            </a:r>
            <a:r>
              <a:rPr sz="1588" spc="-53" dirty="0">
                <a:solidFill>
                  <a:prstClr val="black"/>
                </a:solidFill>
                <a:latin typeface="Times New Roman"/>
                <a:cs typeface="Times New Roman"/>
              </a:rPr>
              <a:t>Li+)</a:t>
            </a:r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03433" lvl="1" defTabSz="806867">
              <a:spcBef>
                <a:spcPts val="18"/>
              </a:spcBef>
              <a:buClr>
                <a:srgbClr val="008EC1"/>
              </a:buClr>
              <a:buFont typeface="Times New Roman"/>
              <a:buChar char="•"/>
            </a:pPr>
            <a:endParaRPr sz="1677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85801" lvl="1" indent="-239819" defTabSz="806867">
              <a:buClr>
                <a:srgbClr val="008EC1"/>
              </a:buClr>
              <a:buFontTx/>
              <a:buChar char="•"/>
              <a:tabLst>
                <a:tab pos="485801" algn="l"/>
                <a:tab pos="486361" algn="l"/>
              </a:tabLst>
            </a:pPr>
            <a:r>
              <a:rPr sz="1588" spc="13" dirty="0">
                <a:solidFill>
                  <a:prstClr val="black"/>
                </a:solidFill>
                <a:latin typeface="Times New Roman"/>
                <a:cs typeface="Times New Roman"/>
              </a:rPr>
              <a:t>Un </a:t>
            </a:r>
            <a:r>
              <a:rPr sz="1588" spc="176" dirty="0">
                <a:solidFill>
                  <a:prstClr val="black"/>
                </a:solidFill>
                <a:latin typeface="Times New Roman"/>
                <a:cs typeface="Times New Roman"/>
              </a:rPr>
              <a:t>séparateur </a:t>
            </a:r>
            <a:r>
              <a:rPr sz="1588" spc="212" dirty="0">
                <a:solidFill>
                  <a:prstClr val="black"/>
                </a:solidFill>
                <a:latin typeface="Times New Roman"/>
                <a:cs typeface="Times New Roman"/>
              </a:rPr>
              <a:t>(membrane</a:t>
            </a:r>
            <a:r>
              <a:rPr sz="1588" spc="-101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72" dirty="0">
                <a:solidFill>
                  <a:prstClr val="black"/>
                </a:solidFill>
                <a:latin typeface="Times New Roman"/>
                <a:cs typeface="Times New Roman"/>
              </a:rPr>
              <a:t>poreuse)</a:t>
            </a:r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03433" lvl="1" defTabSz="806867">
              <a:spcBef>
                <a:spcPts val="9"/>
              </a:spcBef>
              <a:buClr>
                <a:srgbClr val="008EC1"/>
              </a:buClr>
              <a:buFont typeface="Times New Roman"/>
              <a:buChar char="•"/>
            </a:pPr>
            <a:endParaRPr sz="1677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85801" marR="518300" lvl="1" indent="-239819" defTabSz="806867">
              <a:spcBef>
                <a:spcPts val="4"/>
              </a:spcBef>
              <a:buClr>
                <a:srgbClr val="008EC1"/>
              </a:buClr>
              <a:buFontTx/>
              <a:buChar char="•"/>
              <a:tabLst>
                <a:tab pos="485801" algn="l"/>
                <a:tab pos="486361" algn="l"/>
              </a:tabLst>
            </a:pPr>
            <a:r>
              <a:rPr sz="1588" spc="13" dirty="0">
                <a:solidFill>
                  <a:prstClr val="black"/>
                </a:solidFill>
                <a:latin typeface="Times New Roman"/>
                <a:cs typeface="Times New Roman"/>
              </a:rPr>
              <a:t>Un</a:t>
            </a:r>
            <a:r>
              <a:rPr sz="1588" spc="18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216" dirty="0">
                <a:solidFill>
                  <a:prstClr val="black"/>
                </a:solidFill>
                <a:latin typeface="Times New Roman"/>
                <a:cs typeface="Times New Roman"/>
              </a:rPr>
              <a:t>assemblage</a:t>
            </a:r>
            <a:r>
              <a:rPr sz="1588" spc="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224" dirty="0">
                <a:solidFill>
                  <a:prstClr val="black"/>
                </a:solidFill>
                <a:latin typeface="Times New Roman"/>
                <a:cs typeface="Times New Roman"/>
              </a:rPr>
              <a:t>mécanique</a:t>
            </a:r>
            <a:r>
              <a:rPr sz="1588" spc="4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72" dirty="0">
                <a:solidFill>
                  <a:prstClr val="black"/>
                </a:solidFill>
                <a:latin typeface="Times New Roman"/>
                <a:cs typeface="Times New Roman"/>
              </a:rPr>
              <a:t>(axe,</a:t>
            </a:r>
            <a:r>
              <a:rPr sz="1588" spc="4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85" dirty="0">
                <a:solidFill>
                  <a:prstClr val="black"/>
                </a:solidFill>
                <a:latin typeface="Times New Roman"/>
                <a:cs typeface="Times New Roman"/>
              </a:rPr>
              <a:t>godet,  </a:t>
            </a:r>
            <a:r>
              <a:rPr sz="1588" spc="168" dirty="0">
                <a:solidFill>
                  <a:prstClr val="black"/>
                </a:solidFill>
                <a:latin typeface="Times New Roman"/>
                <a:cs typeface="Times New Roman"/>
              </a:rPr>
              <a:t>couvercle, </a:t>
            </a:r>
            <a:r>
              <a:rPr sz="1588" spc="150" dirty="0">
                <a:solidFill>
                  <a:prstClr val="black"/>
                </a:solidFill>
                <a:latin typeface="Times New Roman"/>
                <a:cs typeface="Times New Roman"/>
              </a:rPr>
              <a:t>bornes,</a:t>
            </a:r>
            <a:r>
              <a:rPr sz="1588" spc="-11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46" dirty="0">
                <a:solidFill>
                  <a:prstClr val="black"/>
                </a:solidFill>
                <a:latin typeface="Times New Roman"/>
                <a:cs typeface="Times New Roman"/>
              </a:rPr>
              <a:t>etc…)</a:t>
            </a:r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8551432" y="2576455"/>
            <a:ext cx="716728" cy="256704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7542902" y="2663862"/>
            <a:ext cx="1085178" cy="266251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sldNum" sz="quarter" idx="7"/>
          </p:nvPr>
        </p:nvSpPr>
        <p:spPr>
          <a:xfrm>
            <a:off x="907638" y="6143984"/>
            <a:ext cx="215515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fr-FR"/>
            </a:defPPr>
            <a:lvl1pPr marL="0" algn="l" defTabSz="457200" rtl="0" eaLnBrk="1" latinLnBrk="0" hangingPunct="1">
              <a:defRPr sz="1588" b="0" i="0" kern="1200">
                <a:solidFill>
                  <a:schemeClr val="tx1"/>
                </a:solidFill>
                <a:latin typeface="Times New Roman"/>
                <a:ea typeface="+mn-ea"/>
                <a:cs typeface="Times New Roman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413" defTabSz="806867">
              <a:lnSpc>
                <a:spcPts val="1822"/>
              </a:lnSpc>
            </a:pPr>
            <a:fld id="{81D60167-4931-47E6-BA6A-407CBD079E47}" type="slidenum">
              <a:rPr lang="fr-FR" sz="1059" spc="53" smtClean="0"/>
              <a:pPr marL="59955">
                <a:lnSpc>
                  <a:spcPts val="1244"/>
                </a:lnSpc>
              </a:pPr>
              <a:t>7</a:t>
            </a:fld>
            <a:endParaRPr spc="84" dirty="0">
              <a:solidFill>
                <a:prstClr val="black"/>
              </a:solidFill>
            </a:endParaRPr>
          </a:p>
        </p:txBody>
      </p:sp>
      <p:sp>
        <p:nvSpPr>
          <p:cNvPr id="16" name="object 16"/>
          <p:cNvSpPr txBox="1">
            <a:spLocks noGrp="1"/>
          </p:cNvSpPr>
          <p:nvPr>
            <p:ph type="ftr" sz="quarter" idx="5"/>
          </p:nvPr>
        </p:nvSpPr>
        <p:spPr>
          <a:xfrm>
            <a:off x="1266642" y="6156040"/>
            <a:ext cx="831273" cy="2172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fr-FR"/>
            </a:defPPr>
            <a:lvl1pPr marL="0" algn="l" defTabSz="457200" rtl="0" eaLnBrk="1" latinLnBrk="0" hangingPunct="1">
              <a:defRPr sz="706" b="0" i="0" kern="1200">
                <a:solidFill>
                  <a:schemeClr val="tx1"/>
                </a:solidFill>
                <a:latin typeface="Times New Roman"/>
                <a:ea typeface="+mn-ea"/>
                <a:cs typeface="Times New Roman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206" marR="4483" defTabSz="806867">
              <a:spcBef>
                <a:spcPts val="13"/>
              </a:spcBef>
            </a:pPr>
            <a:r>
              <a:rPr lang="sv-SE" spc="-26"/>
              <a:t>EVOLIS- </a:t>
            </a:r>
            <a:r>
              <a:rPr lang="sv-SE" spc="35"/>
              <a:t>Saft  </a:t>
            </a:r>
            <a:r>
              <a:rPr lang="sv-SE" spc="22"/>
              <a:t>6-7 </a:t>
            </a:r>
            <a:r>
              <a:rPr lang="sv-SE" spc="31"/>
              <a:t>NOV</a:t>
            </a:r>
            <a:r>
              <a:rPr lang="sv-SE" spc="-62"/>
              <a:t> </a:t>
            </a:r>
            <a:r>
              <a:rPr lang="sv-SE" spc="31"/>
              <a:t>2019</a:t>
            </a:r>
            <a:endParaRPr spc="31" dirty="0">
              <a:solidFill>
                <a:prstClr val="black"/>
              </a:solidFill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5018449" y="6185411"/>
            <a:ext cx="2180104" cy="1222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206" defTabSz="806867"/>
            <a:r>
              <a:rPr sz="794" spc="49" dirty="0">
                <a:solidFill>
                  <a:prstClr val="black"/>
                </a:solidFill>
                <a:latin typeface="Times New Roman"/>
                <a:cs typeface="Times New Roman"/>
              </a:rPr>
              <a:t>Informations </a:t>
            </a:r>
            <a:r>
              <a:rPr sz="794" spc="71" dirty="0">
                <a:solidFill>
                  <a:prstClr val="black"/>
                </a:solidFill>
                <a:latin typeface="Times New Roman"/>
                <a:cs typeface="Times New Roman"/>
              </a:rPr>
              <a:t>propriété </a:t>
            </a:r>
            <a:r>
              <a:rPr sz="794" spc="150" dirty="0">
                <a:solidFill>
                  <a:prstClr val="black"/>
                </a:solidFill>
                <a:latin typeface="Times New Roman"/>
                <a:cs typeface="Times New Roman"/>
              </a:rPr>
              <a:t>de</a:t>
            </a:r>
            <a:r>
              <a:rPr sz="794" spc="-79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794" spc="40" dirty="0">
                <a:solidFill>
                  <a:prstClr val="black"/>
                </a:solidFill>
                <a:latin typeface="Times New Roman"/>
                <a:cs typeface="Times New Roman"/>
              </a:rPr>
              <a:t>Saft </a:t>
            </a:r>
            <a:r>
              <a:rPr sz="794" dirty="0">
                <a:solidFill>
                  <a:prstClr val="black"/>
                </a:solidFill>
                <a:latin typeface="Times New Roman"/>
                <a:cs typeface="Times New Roman"/>
              </a:rPr>
              <a:t>– </a:t>
            </a:r>
            <a:r>
              <a:rPr sz="794" spc="57" dirty="0">
                <a:solidFill>
                  <a:prstClr val="black"/>
                </a:solidFill>
                <a:latin typeface="Times New Roman"/>
                <a:cs typeface="Times New Roman"/>
              </a:rPr>
              <a:t>Confidentiel</a:t>
            </a:r>
            <a:endParaRPr sz="794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061883" y="1011218"/>
            <a:ext cx="8068235" cy="10085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9570720" y="6154718"/>
            <a:ext cx="145228" cy="9412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9793941" y="6173545"/>
            <a:ext cx="48745" cy="75640"/>
          </a:xfrm>
          <a:custGeom>
            <a:avLst/>
            <a:gdLst/>
            <a:ahLst/>
            <a:cxnLst/>
            <a:rect l="l" t="t" r="r" b="b"/>
            <a:pathLst>
              <a:path w="55245" h="85725">
                <a:moveTo>
                  <a:pt x="0" y="0"/>
                </a:moveTo>
                <a:lnTo>
                  <a:pt x="54864" y="0"/>
                </a:lnTo>
                <a:lnTo>
                  <a:pt x="54864" y="85344"/>
                </a:lnTo>
                <a:lnTo>
                  <a:pt x="0" y="85344"/>
                </a:lnTo>
                <a:lnTo>
                  <a:pt x="0" y="0"/>
                </a:lnTo>
                <a:close/>
              </a:path>
            </a:pathLst>
          </a:custGeom>
          <a:solidFill>
            <a:srgbClr val="C11F2D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9740153" y="6164804"/>
            <a:ext cx="156322" cy="0"/>
          </a:xfrm>
          <a:custGeom>
            <a:avLst/>
            <a:gdLst/>
            <a:ahLst/>
            <a:cxnLst/>
            <a:rect l="l" t="t" r="r" b="b"/>
            <a:pathLst>
              <a:path w="177165">
                <a:moveTo>
                  <a:pt x="0" y="0"/>
                </a:moveTo>
                <a:lnTo>
                  <a:pt x="176784" y="0"/>
                </a:lnTo>
              </a:path>
            </a:pathLst>
          </a:custGeom>
          <a:ln w="22860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9194201" y="6154718"/>
            <a:ext cx="151952" cy="9412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9373048" y="6154718"/>
            <a:ext cx="160020" cy="9412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9194202" y="6312722"/>
            <a:ext cx="705971" cy="0"/>
          </a:xfrm>
          <a:custGeom>
            <a:avLst/>
            <a:gdLst/>
            <a:ahLst/>
            <a:cxnLst/>
            <a:rect l="l" t="t" r="r" b="b"/>
            <a:pathLst>
              <a:path w="800100">
                <a:moveTo>
                  <a:pt x="0" y="0"/>
                </a:moveTo>
                <a:lnTo>
                  <a:pt x="800100" y="0"/>
                </a:lnTo>
              </a:path>
            </a:pathLst>
          </a:custGeom>
          <a:ln w="53340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2538581" y="6196405"/>
            <a:ext cx="0" cy="118782"/>
          </a:xfrm>
          <a:custGeom>
            <a:avLst/>
            <a:gdLst/>
            <a:ahLst/>
            <a:cxnLst/>
            <a:rect l="l" t="t" r="r" b="b"/>
            <a:pathLst>
              <a:path h="134620">
                <a:moveTo>
                  <a:pt x="0" y="0"/>
                </a:moveTo>
                <a:lnTo>
                  <a:pt x="0" y="134112"/>
                </a:lnTo>
              </a:path>
            </a:pathLst>
          </a:custGeom>
          <a:ln w="10668">
            <a:solidFill>
              <a:srgbClr val="595959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061883" y="1210236"/>
            <a:ext cx="8068235" cy="44778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2435248" y="608680"/>
            <a:ext cx="1956547" cy="309421"/>
          </a:xfrm>
          <a:prstGeom prst="rect">
            <a:avLst/>
          </a:prstGeom>
        </p:spPr>
        <p:txBody>
          <a:bodyPr vert="horz" wrap="square" lIns="0" tIns="10646" rIns="0" bIns="0" rtlCol="0">
            <a:spAutoFit/>
          </a:bodyPr>
          <a:lstStyle/>
          <a:p>
            <a:pPr marL="11206">
              <a:spcBef>
                <a:spcPts val="84"/>
              </a:spcBef>
            </a:pPr>
            <a:r>
              <a:rPr sz="1941" spc="-154" dirty="0">
                <a:solidFill>
                  <a:srgbClr val="004660"/>
                </a:solidFill>
              </a:rPr>
              <a:t>F</a:t>
            </a:r>
            <a:r>
              <a:rPr sz="1941" spc="269" dirty="0">
                <a:solidFill>
                  <a:srgbClr val="004660"/>
                </a:solidFill>
              </a:rPr>
              <a:t>o</a:t>
            </a:r>
            <a:r>
              <a:rPr sz="1941" spc="190" dirty="0">
                <a:solidFill>
                  <a:srgbClr val="004660"/>
                </a:solidFill>
              </a:rPr>
              <a:t>n</a:t>
            </a:r>
            <a:r>
              <a:rPr sz="1941" spc="375" dirty="0">
                <a:solidFill>
                  <a:srgbClr val="004660"/>
                </a:solidFill>
              </a:rPr>
              <a:t>c</a:t>
            </a:r>
            <a:r>
              <a:rPr sz="1941" spc="40" dirty="0">
                <a:solidFill>
                  <a:srgbClr val="004660"/>
                </a:solidFill>
              </a:rPr>
              <a:t>t</a:t>
            </a:r>
            <a:r>
              <a:rPr sz="1941" spc="-79" dirty="0">
                <a:solidFill>
                  <a:srgbClr val="004660"/>
                </a:solidFill>
              </a:rPr>
              <a:t>i</a:t>
            </a:r>
            <a:r>
              <a:rPr sz="1941" spc="269" dirty="0">
                <a:solidFill>
                  <a:srgbClr val="004660"/>
                </a:solidFill>
              </a:rPr>
              <a:t>o</a:t>
            </a:r>
            <a:r>
              <a:rPr sz="1941" spc="190" dirty="0">
                <a:solidFill>
                  <a:srgbClr val="004660"/>
                </a:solidFill>
              </a:rPr>
              <a:t>nn</a:t>
            </a:r>
            <a:r>
              <a:rPr sz="1941" spc="375" dirty="0">
                <a:solidFill>
                  <a:srgbClr val="004660"/>
                </a:solidFill>
              </a:rPr>
              <a:t>e</a:t>
            </a:r>
            <a:r>
              <a:rPr sz="1941" spc="309" dirty="0">
                <a:solidFill>
                  <a:srgbClr val="004660"/>
                </a:solidFill>
              </a:rPr>
              <a:t>m</a:t>
            </a:r>
            <a:r>
              <a:rPr sz="1941" spc="375" dirty="0">
                <a:solidFill>
                  <a:srgbClr val="004660"/>
                </a:solidFill>
              </a:rPr>
              <a:t>e</a:t>
            </a:r>
            <a:r>
              <a:rPr sz="1941" spc="190" dirty="0">
                <a:solidFill>
                  <a:srgbClr val="004660"/>
                </a:solidFill>
              </a:rPr>
              <a:t>n</a:t>
            </a:r>
            <a:r>
              <a:rPr sz="1941" spc="40" dirty="0">
                <a:solidFill>
                  <a:srgbClr val="004660"/>
                </a:solidFill>
              </a:rPr>
              <a:t>t</a:t>
            </a:r>
            <a:endParaRPr sz="1941"/>
          </a:p>
        </p:txBody>
      </p:sp>
      <p:sp>
        <p:nvSpPr>
          <p:cNvPr id="12" name="object 12"/>
          <p:cNvSpPr txBox="1"/>
          <p:nvPr/>
        </p:nvSpPr>
        <p:spPr>
          <a:xfrm>
            <a:off x="2052016" y="1419617"/>
            <a:ext cx="5455584" cy="2949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206" defTabSz="806867">
              <a:lnSpc>
                <a:spcPts val="2347"/>
              </a:lnSpc>
            </a:pPr>
            <a:r>
              <a:rPr sz="2030" spc="119" dirty="0">
                <a:solidFill>
                  <a:srgbClr val="112F52"/>
                </a:solidFill>
                <a:latin typeface="Times New Roman"/>
                <a:cs typeface="Times New Roman"/>
              </a:rPr>
              <a:t>– </a:t>
            </a:r>
            <a:r>
              <a:rPr sz="1853" spc="-119" dirty="0">
                <a:solidFill>
                  <a:prstClr val="black"/>
                </a:solidFill>
                <a:latin typeface="Times New Roman"/>
                <a:cs typeface="Times New Roman"/>
              </a:rPr>
              <a:t>BILAN </a:t>
            </a:r>
            <a:r>
              <a:rPr sz="1853" spc="-31" dirty="0">
                <a:solidFill>
                  <a:prstClr val="black"/>
                </a:solidFill>
                <a:latin typeface="Times New Roman"/>
                <a:cs typeface="Times New Roman"/>
              </a:rPr>
              <a:t>GLOBAL </a:t>
            </a:r>
            <a:r>
              <a:rPr sz="1853" spc="322" dirty="0">
                <a:solidFill>
                  <a:prstClr val="black"/>
                </a:solidFill>
                <a:latin typeface="Times New Roman"/>
                <a:cs typeface="Times New Roman"/>
              </a:rPr>
              <a:t>au </a:t>
            </a:r>
            <a:r>
              <a:rPr sz="1853" spc="199" dirty="0">
                <a:solidFill>
                  <a:prstClr val="black"/>
                </a:solidFill>
                <a:latin typeface="Times New Roman"/>
                <a:cs typeface="Times New Roman"/>
              </a:rPr>
              <a:t>niveau </a:t>
            </a:r>
            <a:r>
              <a:rPr sz="1853" spc="361" dirty="0">
                <a:solidFill>
                  <a:prstClr val="black"/>
                </a:solidFill>
                <a:latin typeface="Times New Roman"/>
                <a:cs typeface="Times New Roman"/>
              </a:rPr>
              <a:t>de</a:t>
            </a:r>
            <a:r>
              <a:rPr sz="1853" spc="-15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853" spc="190" dirty="0">
                <a:solidFill>
                  <a:prstClr val="black"/>
                </a:solidFill>
                <a:latin typeface="Times New Roman"/>
                <a:cs typeface="Times New Roman"/>
              </a:rPr>
              <a:t>l’accumulateur </a:t>
            </a:r>
            <a:r>
              <a:rPr sz="1853" spc="-4" dirty="0">
                <a:solidFill>
                  <a:prstClr val="black"/>
                </a:solidFill>
                <a:latin typeface="Times New Roman"/>
                <a:cs typeface="Times New Roman"/>
              </a:rPr>
              <a:t>:</a:t>
            </a:r>
            <a:endParaRPr sz="1853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6525922" y="5070464"/>
            <a:ext cx="816348" cy="201933"/>
          </a:xfrm>
          <a:prstGeom prst="rect">
            <a:avLst/>
          </a:prstGeom>
        </p:spPr>
        <p:txBody>
          <a:bodyPr vert="horz" wrap="square" lIns="0" tIns="11766" rIns="0" bIns="0" rtlCol="0">
            <a:spAutoFit/>
          </a:bodyPr>
          <a:lstStyle/>
          <a:p>
            <a:pPr marL="11206" defTabSz="806867">
              <a:spcBef>
                <a:spcPts val="93"/>
              </a:spcBef>
            </a:pPr>
            <a:r>
              <a:rPr sz="1235" spc="-4" dirty="0">
                <a:solidFill>
                  <a:prstClr val="black"/>
                </a:solidFill>
                <a:latin typeface="Times New Roman"/>
                <a:cs typeface="Times New Roman"/>
              </a:rPr>
              <a:t>NEGATIVE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2516392" y="2705549"/>
            <a:ext cx="147918" cy="16001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327691" y="2835518"/>
            <a:ext cx="636494" cy="174309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1059" spc="18" dirty="0">
                <a:solidFill>
                  <a:srgbClr val="001F60"/>
                </a:solidFill>
                <a:latin typeface="Times New Roman"/>
                <a:cs typeface="Times New Roman"/>
              </a:rPr>
              <a:t>Ion</a:t>
            </a:r>
            <a:r>
              <a:rPr sz="1059" spc="-26" dirty="0">
                <a:solidFill>
                  <a:srgbClr val="001F60"/>
                </a:solidFill>
                <a:latin typeface="Times New Roman"/>
                <a:cs typeface="Times New Roman"/>
              </a:rPr>
              <a:t> </a:t>
            </a:r>
            <a:r>
              <a:rPr sz="1059" spc="-4" dirty="0">
                <a:solidFill>
                  <a:srgbClr val="001F60"/>
                </a:solidFill>
                <a:latin typeface="Times New Roman"/>
                <a:cs typeface="Times New Roman"/>
              </a:rPr>
              <a:t>lithium</a:t>
            </a:r>
            <a:endParaRPr sz="1059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2492189" y="2197249"/>
            <a:ext cx="196326" cy="215153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2541941" y="3145266"/>
            <a:ext cx="96819" cy="10757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324999" y="3208004"/>
            <a:ext cx="591671" cy="174309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1059" spc="18" dirty="0">
                <a:solidFill>
                  <a:srgbClr val="001F60"/>
                </a:solidFill>
                <a:latin typeface="Times New Roman"/>
                <a:cs typeface="Times New Roman"/>
              </a:rPr>
              <a:t>Ion</a:t>
            </a:r>
            <a:r>
              <a:rPr sz="1059" spc="-31" dirty="0">
                <a:solidFill>
                  <a:srgbClr val="001F60"/>
                </a:solidFill>
                <a:latin typeface="Times New Roman"/>
                <a:cs typeface="Times New Roman"/>
              </a:rPr>
              <a:t> </a:t>
            </a:r>
            <a:r>
              <a:rPr sz="1059" spc="18" dirty="0">
                <a:solidFill>
                  <a:srgbClr val="001F60"/>
                </a:solidFill>
                <a:latin typeface="Times New Roman"/>
                <a:cs typeface="Times New Roman"/>
              </a:rPr>
              <a:t>nickel</a:t>
            </a:r>
            <a:endParaRPr sz="1059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2346960" y="3545990"/>
            <a:ext cx="535641" cy="99732"/>
          </a:xfrm>
          <a:custGeom>
            <a:avLst/>
            <a:gdLst/>
            <a:ahLst/>
            <a:cxnLst/>
            <a:rect l="l" t="t" r="r" b="b"/>
            <a:pathLst>
              <a:path w="607060" h="113029">
                <a:moveTo>
                  <a:pt x="440436" y="112776"/>
                </a:moveTo>
                <a:lnTo>
                  <a:pt x="166116" y="112776"/>
                </a:lnTo>
                <a:lnTo>
                  <a:pt x="0" y="56388"/>
                </a:lnTo>
                <a:lnTo>
                  <a:pt x="166116" y="0"/>
                </a:lnTo>
                <a:lnTo>
                  <a:pt x="440436" y="0"/>
                </a:lnTo>
                <a:lnTo>
                  <a:pt x="606552" y="56388"/>
                </a:lnTo>
                <a:lnTo>
                  <a:pt x="440436" y="112776"/>
                </a:lnTo>
                <a:close/>
              </a:path>
            </a:pathLst>
          </a:custGeom>
          <a:solidFill>
            <a:srgbClr val="00269E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2329479" y="3540610"/>
            <a:ext cx="570379" cy="110378"/>
          </a:xfrm>
          <a:custGeom>
            <a:avLst/>
            <a:gdLst/>
            <a:ahLst/>
            <a:cxnLst/>
            <a:rect l="l" t="t" r="r" b="b"/>
            <a:pathLst>
              <a:path w="646430" h="125095">
                <a:moveTo>
                  <a:pt x="461772" y="124968"/>
                </a:moveTo>
                <a:lnTo>
                  <a:pt x="185928" y="124968"/>
                </a:lnTo>
                <a:lnTo>
                  <a:pt x="0" y="62484"/>
                </a:lnTo>
                <a:lnTo>
                  <a:pt x="185928" y="0"/>
                </a:lnTo>
                <a:lnTo>
                  <a:pt x="461772" y="0"/>
                </a:lnTo>
                <a:lnTo>
                  <a:pt x="497753" y="12192"/>
                </a:lnTo>
                <a:lnTo>
                  <a:pt x="188976" y="12192"/>
                </a:lnTo>
                <a:lnTo>
                  <a:pt x="58776" y="56388"/>
                </a:lnTo>
                <a:lnTo>
                  <a:pt x="22860" y="56388"/>
                </a:lnTo>
                <a:lnTo>
                  <a:pt x="22860" y="68580"/>
                </a:lnTo>
                <a:lnTo>
                  <a:pt x="58776" y="68580"/>
                </a:lnTo>
                <a:lnTo>
                  <a:pt x="188976" y="112776"/>
                </a:lnTo>
                <a:lnTo>
                  <a:pt x="497753" y="112776"/>
                </a:lnTo>
                <a:lnTo>
                  <a:pt x="461772" y="124968"/>
                </a:lnTo>
                <a:close/>
              </a:path>
              <a:path w="646430" h="125095">
                <a:moveTo>
                  <a:pt x="606881" y="62484"/>
                </a:moveTo>
                <a:lnTo>
                  <a:pt x="458724" y="12192"/>
                </a:lnTo>
                <a:lnTo>
                  <a:pt x="497753" y="12192"/>
                </a:lnTo>
                <a:lnTo>
                  <a:pt x="628185" y="56388"/>
                </a:lnTo>
                <a:lnTo>
                  <a:pt x="624840" y="56388"/>
                </a:lnTo>
                <a:lnTo>
                  <a:pt x="606881" y="62484"/>
                </a:lnTo>
                <a:close/>
              </a:path>
              <a:path w="646430" h="125095">
                <a:moveTo>
                  <a:pt x="22860" y="68580"/>
                </a:moveTo>
                <a:lnTo>
                  <a:pt x="22860" y="56388"/>
                </a:lnTo>
                <a:lnTo>
                  <a:pt x="40818" y="62484"/>
                </a:lnTo>
                <a:lnTo>
                  <a:pt x="22860" y="68580"/>
                </a:lnTo>
                <a:close/>
              </a:path>
              <a:path w="646430" h="125095">
                <a:moveTo>
                  <a:pt x="40818" y="62484"/>
                </a:moveTo>
                <a:lnTo>
                  <a:pt x="22860" y="56388"/>
                </a:lnTo>
                <a:lnTo>
                  <a:pt x="58776" y="56388"/>
                </a:lnTo>
                <a:lnTo>
                  <a:pt x="40818" y="62484"/>
                </a:lnTo>
                <a:close/>
              </a:path>
              <a:path w="646430" h="125095">
                <a:moveTo>
                  <a:pt x="624840" y="68580"/>
                </a:moveTo>
                <a:lnTo>
                  <a:pt x="606881" y="62484"/>
                </a:lnTo>
                <a:lnTo>
                  <a:pt x="624840" y="56388"/>
                </a:lnTo>
                <a:lnTo>
                  <a:pt x="624840" y="68580"/>
                </a:lnTo>
                <a:close/>
              </a:path>
              <a:path w="646430" h="125095">
                <a:moveTo>
                  <a:pt x="628185" y="68580"/>
                </a:moveTo>
                <a:lnTo>
                  <a:pt x="624840" y="68580"/>
                </a:lnTo>
                <a:lnTo>
                  <a:pt x="624840" y="56388"/>
                </a:lnTo>
                <a:lnTo>
                  <a:pt x="628185" y="56388"/>
                </a:lnTo>
                <a:lnTo>
                  <a:pt x="646176" y="62484"/>
                </a:lnTo>
                <a:lnTo>
                  <a:pt x="628185" y="68580"/>
                </a:lnTo>
                <a:close/>
              </a:path>
              <a:path w="646430" h="125095">
                <a:moveTo>
                  <a:pt x="58776" y="68580"/>
                </a:moveTo>
                <a:lnTo>
                  <a:pt x="22860" y="68580"/>
                </a:lnTo>
                <a:lnTo>
                  <a:pt x="40818" y="62484"/>
                </a:lnTo>
                <a:lnTo>
                  <a:pt x="58776" y="68580"/>
                </a:lnTo>
                <a:close/>
              </a:path>
              <a:path w="646430" h="125095">
                <a:moveTo>
                  <a:pt x="497753" y="112776"/>
                </a:moveTo>
                <a:lnTo>
                  <a:pt x="458724" y="112776"/>
                </a:lnTo>
                <a:lnTo>
                  <a:pt x="606881" y="62484"/>
                </a:lnTo>
                <a:lnTo>
                  <a:pt x="624840" y="68580"/>
                </a:lnTo>
                <a:lnTo>
                  <a:pt x="628185" y="68580"/>
                </a:lnTo>
                <a:lnTo>
                  <a:pt x="497753" y="112776"/>
                </a:lnTo>
                <a:close/>
              </a:path>
              <a:path w="646430" h="125095">
                <a:moveTo>
                  <a:pt x="458724" y="112776"/>
                </a:moveTo>
                <a:lnTo>
                  <a:pt x="188976" y="112776"/>
                </a:lnTo>
                <a:lnTo>
                  <a:pt x="185928" y="111252"/>
                </a:lnTo>
                <a:lnTo>
                  <a:pt x="460248" y="111252"/>
                </a:lnTo>
                <a:lnTo>
                  <a:pt x="458724" y="11277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2355925" y="2403875"/>
            <a:ext cx="558613" cy="174309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1059" spc="57" dirty="0">
                <a:solidFill>
                  <a:srgbClr val="001F60"/>
                </a:solidFill>
                <a:latin typeface="Times New Roman"/>
                <a:cs typeface="Times New Roman"/>
              </a:rPr>
              <a:t>O</a:t>
            </a:r>
            <a:r>
              <a:rPr sz="1059" spc="-13" dirty="0">
                <a:solidFill>
                  <a:srgbClr val="001F60"/>
                </a:solidFill>
                <a:latin typeface="Times New Roman"/>
                <a:cs typeface="Times New Roman"/>
              </a:rPr>
              <a:t>xy</a:t>
            </a:r>
            <a:r>
              <a:rPr sz="1059" spc="49" dirty="0">
                <a:solidFill>
                  <a:srgbClr val="001F60"/>
                </a:solidFill>
                <a:latin typeface="Times New Roman"/>
                <a:cs typeface="Times New Roman"/>
              </a:rPr>
              <a:t>g</a:t>
            </a:r>
            <a:r>
              <a:rPr sz="1059" spc="115" dirty="0">
                <a:solidFill>
                  <a:srgbClr val="001F60"/>
                </a:solidFill>
                <a:latin typeface="Times New Roman"/>
                <a:cs typeface="Times New Roman"/>
              </a:rPr>
              <a:t>è</a:t>
            </a:r>
            <a:r>
              <a:rPr sz="1059" spc="57" dirty="0">
                <a:solidFill>
                  <a:srgbClr val="001F60"/>
                </a:solidFill>
                <a:latin typeface="Times New Roman"/>
                <a:cs typeface="Times New Roman"/>
              </a:rPr>
              <a:t>n</a:t>
            </a:r>
            <a:r>
              <a:rPr sz="1059" spc="115" dirty="0">
                <a:solidFill>
                  <a:srgbClr val="001F60"/>
                </a:solidFill>
                <a:latin typeface="Times New Roman"/>
                <a:cs typeface="Times New Roman"/>
              </a:rPr>
              <a:t>e</a:t>
            </a:r>
            <a:endParaRPr sz="1059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2342926" y="3956125"/>
            <a:ext cx="543261" cy="104886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2285999" y="3650416"/>
            <a:ext cx="688601" cy="876873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56593" defTabSz="806867">
              <a:spcBef>
                <a:spcPts val="88"/>
              </a:spcBef>
            </a:pPr>
            <a:r>
              <a:rPr sz="1059" spc="66" dirty="0">
                <a:solidFill>
                  <a:srgbClr val="001F60"/>
                </a:solidFill>
                <a:latin typeface="Times New Roman"/>
                <a:cs typeface="Times New Roman"/>
              </a:rPr>
              <a:t>Carbone</a:t>
            </a:r>
            <a:endParaRPr sz="1059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defTabSz="806867"/>
            <a:endParaRPr sz="1147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248784" marR="4483" indent="-238138" defTabSz="806867">
              <a:lnSpc>
                <a:spcPct val="75900"/>
              </a:lnSpc>
              <a:spcBef>
                <a:spcPts val="785"/>
              </a:spcBef>
            </a:pPr>
            <a:r>
              <a:rPr sz="1059" spc="115" dirty="0">
                <a:solidFill>
                  <a:srgbClr val="001F60"/>
                </a:solidFill>
                <a:latin typeface="Times New Roman"/>
                <a:cs typeface="Times New Roman"/>
              </a:rPr>
              <a:t>Sé</a:t>
            </a:r>
            <a:r>
              <a:rPr sz="1059" spc="57" dirty="0">
                <a:solidFill>
                  <a:srgbClr val="001F60"/>
                </a:solidFill>
                <a:latin typeface="Times New Roman"/>
                <a:cs typeface="Times New Roman"/>
              </a:rPr>
              <a:t>p</a:t>
            </a:r>
            <a:r>
              <a:rPr sz="1059" spc="115" dirty="0">
                <a:solidFill>
                  <a:srgbClr val="001F60"/>
                </a:solidFill>
                <a:latin typeface="Times New Roman"/>
                <a:cs typeface="Times New Roman"/>
              </a:rPr>
              <a:t>a</a:t>
            </a:r>
            <a:r>
              <a:rPr sz="1059" spc="-4" dirty="0">
                <a:solidFill>
                  <a:srgbClr val="001F60"/>
                </a:solidFill>
                <a:latin typeface="Times New Roman"/>
                <a:cs typeface="Times New Roman"/>
              </a:rPr>
              <a:t>r</a:t>
            </a:r>
            <a:r>
              <a:rPr sz="1059" spc="115" dirty="0">
                <a:solidFill>
                  <a:srgbClr val="001F60"/>
                </a:solidFill>
                <a:latin typeface="Times New Roman"/>
                <a:cs typeface="Times New Roman"/>
              </a:rPr>
              <a:t>a</a:t>
            </a:r>
            <a:r>
              <a:rPr sz="1059" spc="-4" dirty="0">
                <a:solidFill>
                  <a:srgbClr val="001F60"/>
                </a:solidFill>
                <a:latin typeface="Times New Roman"/>
                <a:cs typeface="Times New Roman"/>
              </a:rPr>
              <a:t>t</a:t>
            </a:r>
            <a:r>
              <a:rPr sz="1059" spc="106" dirty="0">
                <a:solidFill>
                  <a:srgbClr val="001F60"/>
                </a:solidFill>
                <a:latin typeface="Times New Roman"/>
                <a:cs typeface="Times New Roman"/>
              </a:rPr>
              <a:t>e</a:t>
            </a:r>
            <a:r>
              <a:rPr sz="1059" spc="49" dirty="0">
                <a:solidFill>
                  <a:srgbClr val="001F60"/>
                </a:solidFill>
                <a:latin typeface="Times New Roman"/>
                <a:cs typeface="Times New Roman"/>
              </a:rPr>
              <a:t>u</a:t>
            </a:r>
            <a:r>
              <a:rPr sz="1059" dirty="0">
                <a:solidFill>
                  <a:srgbClr val="001F60"/>
                </a:solidFill>
                <a:latin typeface="Times New Roman"/>
                <a:cs typeface="Times New Roman"/>
              </a:rPr>
              <a:t>r  </a:t>
            </a:r>
            <a:r>
              <a:rPr sz="1588" spc="92" baseline="-16203" dirty="0">
                <a:solidFill>
                  <a:srgbClr val="0070BF"/>
                </a:solidFill>
                <a:latin typeface="Times New Roman"/>
                <a:cs typeface="Times New Roman"/>
              </a:rPr>
              <a:t>e</a:t>
            </a:r>
            <a:r>
              <a:rPr sz="706" spc="62" dirty="0">
                <a:solidFill>
                  <a:srgbClr val="0070BF"/>
                </a:solidFill>
                <a:latin typeface="Times New Roman"/>
                <a:cs typeface="Times New Roman"/>
              </a:rPr>
              <a:t>-</a:t>
            </a:r>
            <a:endParaRPr sz="706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7067" defTabSz="806867">
              <a:spcBef>
                <a:spcPts val="62"/>
              </a:spcBef>
            </a:pPr>
            <a:r>
              <a:rPr sz="1059" spc="44" dirty="0">
                <a:solidFill>
                  <a:srgbClr val="001F60"/>
                </a:solidFill>
                <a:latin typeface="Times New Roman"/>
                <a:cs typeface="Times New Roman"/>
              </a:rPr>
              <a:t>Électrons</a:t>
            </a:r>
            <a:endParaRPr sz="1059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2391336" y="4687645"/>
            <a:ext cx="472328" cy="78441"/>
          </a:xfrm>
          <a:custGeom>
            <a:avLst/>
            <a:gdLst/>
            <a:ahLst/>
            <a:cxnLst/>
            <a:rect l="l" t="t" r="r" b="b"/>
            <a:pathLst>
              <a:path w="535305" h="88900">
                <a:moveTo>
                  <a:pt x="533400" y="88392"/>
                </a:moveTo>
                <a:lnTo>
                  <a:pt x="457200" y="86868"/>
                </a:lnTo>
                <a:lnTo>
                  <a:pt x="458724" y="10668"/>
                </a:lnTo>
                <a:lnTo>
                  <a:pt x="534924" y="12192"/>
                </a:lnTo>
                <a:lnTo>
                  <a:pt x="533400" y="88392"/>
                </a:lnTo>
                <a:close/>
              </a:path>
              <a:path w="535305" h="88900">
                <a:moveTo>
                  <a:pt x="381000" y="85344"/>
                </a:moveTo>
                <a:lnTo>
                  <a:pt x="304800" y="83820"/>
                </a:lnTo>
                <a:lnTo>
                  <a:pt x="306324" y="7620"/>
                </a:lnTo>
                <a:lnTo>
                  <a:pt x="382524" y="9144"/>
                </a:lnTo>
                <a:lnTo>
                  <a:pt x="381000" y="85344"/>
                </a:lnTo>
                <a:close/>
              </a:path>
              <a:path w="535305" h="88900">
                <a:moveTo>
                  <a:pt x="228600" y="82296"/>
                </a:moveTo>
                <a:lnTo>
                  <a:pt x="152400" y="79248"/>
                </a:lnTo>
                <a:lnTo>
                  <a:pt x="153924" y="3048"/>
                </a:lnTo>
                <a:lnTo>
                  <a:pt x="230124" y="6096"/>
                </a:lnTo>
                <a:lnTo>
                  <a:pt x="228600" y="82296"/>
                </a:lnTo>
                <a:close/>
              </a:path>
              <a:path w="535305" h="88900">
                <a:moveTo>
                  <a:pt x="76200" y="77724"/>
                </a:moveTo>
                <a:lnTo>
                  <a:pt x="0" y="76200"/>
                </a:lnTo>
                <a:lnTo>
                  <a:pt x="1524" y="0"/>
                </a:lnTo>
                <a:lnTo>
                  <a:pt x="77724" y="1524"/>
                </a:lnTo>
                <a:lnTo>
                  <a:pt x="76200" y="77724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2284685" y="4726162"/>
            <a:ext cx="695885" cy="337302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marR="4483" indent="11767" defTabSz="806867">
              <a:spcBef>
                <a:spcPts val="88"/>
              </a:spcBef>
            </a:pPr>
            <a:r>
              <a:rPr sz="1059" spc="66" dirty="0">
                <a:solidFill>
                  <a:srgbClr val="001F60"/>
                </a:solidFill>
                <a:latin typeface="Times New Roman"/>
                <a:cs typeface="Times New Roman"/>
              </a:rPr>
              <a:t>Couche</a:t>
            </a:r>
            <a:r>
              <a:rPr sz="1059" spc="-53" dirty="0">
                <a:solidFill>
                  <a:srgbClr val="001F60"/>
                </a:solidFill>
                <a:latin typeface="Times New Roman"/>
                <a:cs typeface="Times New Roman"/>
              </a:rPr>
              <a:t> </a:t>
            </a:r>
            <a:r>
              <a:rPr sz="1059" spc="88" dirty="0">
                <a:solidFill>
                  <a:srgbClr val="001F60"/>
                </a:solidFill>
                <a:latin typeface="Times New Roman"/>
                <a:cs typeface="Times New Roman"/>
              </a:rPr>
              <a:t>de  </a:t>
            </a:r>
            <a:r>
              <a:rPr sz="1059" spc="57" dirty="0">
                <a:solidFill>
                  <a:srgbClr val="001F60"/>
                </a:solidFill>
                <a:latin typeface="Times New Roman"/>
                <a:cs typeface="Times New Roman"/>
              </a:rPr>
              <a:t>p</a:t>
            </a:r>
            <a:r>
              <a:rPr sz="1059" spc="115" dirty="0">
                <a:solidFill>
                  <a:srgbClr val="001F60"/>
                </a:solidFill>
                <a:latin typeface="Times New Roman"/>
                <a:cs typeface="Times New Roman"/>
              </a:rPr>
              <a:t>ass</a:t>
            </a:r>
            <a:r>
              <a:rPr sz="1059" spc="-66" dirty="0">
                <a:solidFill>
                  <a:srgbClr val="001F60"/>
                </a:solidFill>
                <a:latin typeface="Times New Roman"/>
                <a:cs typeface="Times New Roman"/>
              </a:rPr>
              <a:t>i</a:t>
            </a:r>
            <a:r>
              <a:rPr sz="1059" spc="-13" dirty="0">
                <a:solidFill>
                  <a:srgbClr val="001F60"/>
                </a:solidFill>
                <a:latin typeface="Times New Roman"/>
                <a:cs typeface="Times New Roman"/>
              </a:rPr>
              <a:t>v</a:t>
            </a:r>
            <a:r>
              <a:rPr sz="1059" spc="115" dirty="0">
                <a:solidFill>
                  <a:srgbClr val="001F60"/>
                </a:solidFill>
                <a:latin typeface="Times New Roman"/>
                <a:cs typeface="Times New Roman"/>
              </a:rPr>
              <a:t>a</a:t>
            </a:r>
            <a:r>
              <a:rPr sz="1059" spc="-4" dirty="0">
                <a:solidFill>
                  <a:srgbClr val="001F60"/>
                </a:solidFill>
                <a:latin typeface="Times New Roman"/>
                <a:cs typeface="Times New Roman"/>
              </a:rPr>
              <a:t>t</a:t>
            </a:r>
            <a:r>
              <a:rPr sz="1059" spc="-66" dirty="0">
                <a:solidFill>
                  <a:srgbClr val="001F60"/>
                </a:solidFill>
                <a:latin typeface="Times New Roman"/>
                <a:cs typeface="Times New Roman"/>
              </a:rPr>
              <a:t>i</a:t>
            </a:r>
            <a:r>
              <a:rPr sz="1059" spc="57" dirty="0">
                <a:solidFill>
                  <a:srgbClr val="001F60"/>
                </a:solidFill>
                <a:latin typeface="Times New Roman"/>
                <a:cs typeface="Times New Roman"/>
              </a:rPr>
              <a:t>on</a:t>
            </a:r>
            <a:endParaRPr sz="1059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6244745" y="5425373"/>
            <a:ext cx="1146362" cy="228054"/>
          </a:xfrm>
          <a:prstGeom prst="rect">
            <a:avLst/>
          </a:prstGeom>
        </p:spPr>
        <p:txBody>
          <a:bodyPr vert="horz" wrap="square" lIns="0" tIns="10646" rIns="0" bIns="0" rtlCol="0">
            <a:spAutoFit/>
          </a:bodyPr>
          <a:lstStyle/>
          <a:p>
            <a:pPr marL="11206" defTabSz="806867">
              <a:spcBef>
                <a:spcPts val="84"/>
              </a:spcBef>
            </a:pPr>
            <a:r>
              <a:rPr sz="1412" spc="49" dirty="0">
                <a:solidFill>
                  <a:prstClr val="black"/>
                </a:solidFill>
                <a:latin typeface="Times New Roman"/>
                <a:cs typeface="Times New Roman"/>
              </a:rPr>
              <a:t>C</a:t>
            </a:r>
            <a:r>
              <a:rPr sz="1390" spc="72" baseline="-21164" dirty="0">
                <a:solidFill>
                  <a:prstClr val="black"/>
                </a:solidFill>
                <a:latin typeface="Times New Roman"/>
                <a:cs typeface="Times New Roman"/>
              </a:rPr>
              <a:t>6</a:t>
            </a:r>
            <a:r>
              <a:rPr sz="1412" spc="49" dirty="0">
                <a:solidFill>
                  <a:prstClr val="black"/>
                </a:solidFill>
                <a:latin typeface="Times New Roman"/>
                <a:cs typeface="Times New Roman"/>
              </a:rPr>
              <a:t>+ </a:t>
            </a:r>
            <a:r>
              <a:rPr sz="1412" spc="22" dirty="0">
                <a:solidFill>
                  <a:prstClr val="black"/>
                </a:solidFill>
                <a:latin typeface="Times New Roman"/>
                <a:cs typeface="Times New Roman"/>
              </a:rPr>
              <a:t>xLi</a:t>
            </a:r>
            <a:r>
              <a:rPr sz="1390" spc="33" baseline="26455" dirty="0">
                <a:solidFill>
                  <a:prstClr val="black"/>
                </a:solidFill>
                <a:latin typeface="Times New Roman"/>
                <a:cs typeface="Times New Roman"/>
              </a:rPr>
              <a:t>+ </a:t>
            </a:r>
            <a:r>
              <a:rPr sz="1412" spc="22" dirty="0">
                <a:solidFill>
                  <a:prstClr val="black"/>
                </a:solidFill>
                <a:latin typeface="Times New Roman"/>
                <a:cs typeface="Times New Roman"/>
              </a:rPr>
              <a:t>+</a:t>
            </a:r>
            <a:r>
              <a:rPr sz="1412" spc="-4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412" spc="79" dirty="0">
                <a:solidFill>
                  <a:prstClr val="black"/>
                </a:solidFill>
                <a:latin typeface="Times New Roman"/>
                <a:cs typeface="Times New Roman"/>
              </a:rPr>
              <a:t>xe</a:t>
            </a:r>
            <a:r>
              <a:rPr sz="1390" spc="119" baseline="26455" dirty="0">
                <a:solidFill>
                  <a:prstClr val="black"/>
                </a:solidFill>
                <a:latin typeface="Times New Roman"/>
                <a:cs typeface="Times New Roman"/>
              </a:rPr>
              <a:t>-</a:t>
            </a:r>
            <a:endParaRPr sz="1390" baseline="26455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8124711" y="5425373"/>
            <a:ext cx="442632" cy="228054"/>
          </a:xfrm>
          <a:prstGeom prst="rect">
            <a:avLst/>
          </a:prstGeom>
        </p:spPr>
        <p:txBody>
          <a:bodyPr vert="horz" wrap="square" lIns="0" tIns="10646" rIns="0" bIns="0" rtlCol="0">
            <a:spAutoFit/>
          </a:bodyPr>
          <a:lstStyle/>
          <a:p>
            <a:pPr marL="11206" defTabSz="806867">
              <a:spcBef>
                <a:spcPts val="84"/>
              </a:spcBef>
            </a:pPr>
            <a:r>
              <a:rPr sz="1412" spc="-4" dirty="0">
                <a:solidFill>
                  <a:prstClr val="black"/>
                </a:solidFill>
                <a:latin typeface="Times New Roman"/>
                <a:cs typeface="Times New Roman"/>
              </a:rPr>
              <a:t>Li</a:t>
            </a:r>
            <a:r>
              <a:rPr sz="1390" spc="79" baseline="-21164" dirty="0">
                <a:solidFill>
                  <a:prstClr val="black"/>
                </a:solidFill>
                <a:latin typeface="Times New Roman"/>
                <a:cs typeface="Times New Roman"/>
              </a:rPr>
              <a:t>x</a:t>
            </a:r>
            <a:r>
              <a:rPr sz="1412" spc="71" dirty="0">
                <a:solidFill>
                  <a:prstClr val="black"/>
                </a:solidFill>
                <a:latin typeface="Times New Roman"/>
                <a:cs typeface="Times New Roman"/>
              </a:rPr>
              <a:t>C</a:t>
            </a:r>
            <a:r>
              <a:rPr sz="1390" spc="86" baseline="-21164" dirty="0">
                <a:solidFill>
                  <a:prstClr val="black"/>
                </a:solidFill>
                <a:latin typeface="Times New Roman"/>
                <a:cs typeface="Times New Roman"/>
              </a:rPr>
              <a:t>6</a:t>
            </a:r>
            <a:endParaRPr sz="1390" baseline="-21164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3324109" y="5424063"/>
            <a:ext cx="535641" cy="228054"/>
          </a:xfrm>
          <a:prstGeom prst="rect">
            <a:avLst/>
          </a:prstGeom>
        </p:spPr>
        <p:txBody>
          <a:bodyPr vert="horz" wrap="square" lIns="0" tIns="10646" rIns="0" bIns="0" rtlCol="0">
            <a:spAutoFit/>
          </a:bodyPr>
          <a:lstStyle/>
          <a:p>
            <a:pPr marL="11206" defTabSz="806867">
              <a:spcBef>
                <a:spcPts val="84"/>
              </a:spcBef>
            </a:pPr>
            <a:r>
              <a:rPr sz="1412" spc="-4" dirty="0">
                <a:solidFill>
                  <a:prstClr val="black"/>
                </a:solidFill>
                <a:latin typeface="Times New Roman"/>
                <a:cs typeface="Times New Roman"/>
              </a:rPr>
              <a:t>Li</a:t>
            </a:r>
            <a:r>
              <a:rPr sz="1412" spc="-88" dirty="0">
                <a:solidFill>
                  <a:prstClr val="black"/>
                </a:solidFill>
                <a:latin typeface="Times New Roman"/>
                <a:cs typeface="Times New Roman"/>
              </a:rPr>
              <a:t>M</a:t>
            </a:r>
            <a:r>
              <a:rPr sz="1412" spc="66" dirty="0">
                <a:solidFill>
                  <a:prstClr val="black"/>
                </a:solidFill>
                <a:latin typeface="Times New Roman"/>
                <a:cs typeface="Times New Roman"/>
              </a:rPr>
              <a:t>O</a:t>
            </a:r>
            <a:r>
              <a:rPr sz="1390" spc="86" baseline="-21164" dirty="0">
                <a:solidFill>
                  <a:prstClr val="black"/>
                </a:solidFill>
                <a:latin typeface="Times New Roman"/>
                <a:cs typeface="Times New Roman"/>
              </a:rPr>
              <a:t>2</a:t>
            </a:r>
            <a:endParaRPr sz="1390" baseline="-21164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596194" y="5424063"/>
            <a:ext cx="1142440" cy="228054"/>
          </a:xfrm>
          <a:prstGeom prst="rect">
            <a:avLst/>
          </a:prstGeom>
        </p:spPr>
        <p:txBody>
          <a:bodyPr vert="horz" wrap="square" lIns="0" tIns="10646" rIns="0" bIns="0" rtlCol="0">
            <a:spAutoFit/>
          </a:bodyPr>
          <a:lstStyle/>
          <a:p>
            <a:pPr marL="11206" defTabSz="806867">
              <a:spcBef>
                <a:spcPts val="84"/>
              </a:spcBef>
            </a:pPr>
            <a:r>
              <a:rPr sz="1412" spc="13" dirty="0">
                <a:solidFill>
                  <a:prstClr val="black"/>
                </a:solidFill>
                <a:latin typeface="Times New Roman"/>
                <a:cs typeface="Times New Roman"/>
              </a:rPr>
              <a:t>MO</a:t>
            </a:r>
            <a:r>
              <a:rPr sz="1390" spc="19" baseline="-21164" dirty="0">
                <a:solidFill>
                  <a:prstClr val="black"/>
                </a:solidFill>
                <a:latin typeface="Times New Roman"/>
                <a:cs typeface="Times New Roman"/>
              </a:rPr>
              <a:t>2 </a:t>
            </a:r>
            <a:r>
              <a:rPr sz="1412" spc="22" dirty="0">
                <a:solidFill>
                  <a:prstClr val="black"/>
                </a:solidFill>
                <a:latin typeface="Times New Roman"/>
                <a:cs typeface="Times New Roman"/>
              </a:rPr>
              <a:t>+ </a:t>
            </a:r>
            <a:r>
              <a:rPr sz="1412" spc="4" dirty="0">
                <a:solidFill>
                  <a:prstClr val="black"/>
                </a:solidFill>
                <a:latin typeface="Times New Roman"/>
                <a:cs typeface="Times New Roman"/>
              </a:rPr>
              <a:t>Li</a:t>
            </a:r>
            <a:r>
              <a:rPr sz="1390" spc="6" baseline="26455" dirty="0">
                <a:solidFill>
                  <a:prstClr val="black"/>
                </a:solidFill>
                <a:latin typeface="Times New Roman"/>
                <a:cs typeface="Times New Roman"/>
              </a:rPr>
              <a:t>+ </a:t>
            </a:r>
            <a:r>
              <a:rPr sz="1412" spc="22" dirty="0">
                <a:solidFill>
                  <a:prstClr val="black"/>
                </a:solidFill>
                <a:latin typeface="Times New Roman"/>
                <a:cs typeface="Times New Roman"/>
              </a:rPr>
              <a:t>+</a:t>
            </a:r>
            <a:r>
              <a:rPr sz="1412" spc="-13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412" spc="79" dirty="0">
                <a:solidFill>
                  <a:prstClr val="black"/>
                </a:solidFill>
                <a:latin typeface="Times New Roman"/>
                <a:cs typeface="Times New Roman"/>
              </a:rPr>
              <a:t>e</a:t>
            </a:r>
            <a:r>
              <a:rPr sz="1390" spc="119" baseline="26455" dirty="0">
                <a:solidFill>
                  <a:prstClr val="black"/>
                </a:solidFill>
                <a:latin typeface="Times New Roman"/>
                <a:cs typeface="Times New Roman"/>
              </a:rPr>
              <a:t>-</a:t>
            </a:r>
            <a:endParaRPr sz="1390" baseline="26455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3567952" y="2489050"/>
            <a:ext cx="4340711" cy="2587214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3570642" y="2489050"/>
            <a:ext cx="4338357" cy="2587438"/>
          </a:xfrm>
          <a:custGeom>
            <a:avLst/>
            <a:gdLst/>
            <a:ahLst/>
            <a:cxnLst/>
            <a:rect l="l" t="t" r="r" b="b"/>
            <a:pathLst>
              <a:path w="4916805" h="2932429">
                <a:moveTo>
                  <a:pt x="4914900" y="2932176"/>
                </a:moveTo>
                <a:lnTo>
                  <a:pt x="1524" y="2932176"/>
                </a:lnTo>
                <a:lnTo>
                  <a:pt x="0" y="2930652"/>
                </a:lnTo>
                <a:lnTo>
                  <a:pt x="0" y="3048"/>
                </a:lnTo>
                <a:lnTo>
                  <a:pt x="1524" y="0"/>
                </a:lnTo>
                <a:lnTo>
                  <a:pt x="4914900" y="0"/>
                </a:lnTo>
                <a:lnTo>
                  <a:pt x="4916424" y="3048"/>
                </a:lnTo>
                <a:lnTo>
                  <a:pt x="4916424" y="6096"/>
                </a:lnTo>
                <a:lnTo>
                  <a:pt x="9144" y="6096"/>
                </a:lnTo>
                <a:lnTo>
                  <a:pt x="4572" y="10668"/>
                </a:lnTo>
                <a:lnTo>
                  <a:pt x="9144" y="10668"/>
                </a:lnTo>
                <a:lnTo>
                  <a:pt x="9144" y="2923032"/>
                </a:lnTo>
                <a:lnTo>
                  <a:pt x="4572" y="2923032"/>
                </a:lnTo>
                <a:lnTo>
                  <a:pt x="9144" y="2927604"/>
                </a:lnTo>
                <a:lnTo>
                  <a:pt x="4916424" y="2927604"/>
                </a:lnTo>
                <a:lnTo>
                  <a:pt x="4916424" y="2930652"/>
                </a:lnTo>
                <a:lnTo>
                  <a:pt x="4914900" y="2932176"/>
                </a:lnTo>
                <a:close/>
              </a:path>
              <a:path w="4916805" h="2932429">
                <a:moveTo>
                  <a:pt x="9144" y="10668"/>
                </a:moveTo>
                <a:lnTo>
                  <a:pt x="4572" y="10668"/>
                </a:lnTo>
                <a:lnTo>
                  <a:pt x="9144" y="6096"/>
                </a:lnTo>
                <a:lnTo>
                  <a:pt x="9144" y="10668"/>
                </a:lnTo>
                <a:close/>
              </a:path>
              <a:path w="4916805" h="2932429">
                <a:moveTo>
                  <a:pt x="4907280" y="10668"/>
                </a:moveTo>
                <a:lnTo>
                  <a:pt x="9144" y="10668"/>
                </a:lnTo>
                <a:lnTo>
                  <a:pt x="9144" y="6096"/>
                </a:lnTo>
                <a:lnTo>
                  <a:pt x="4907280" y="6096"/>
                </a:lnTo>
                <a:lnTo>
                  <a:pt x="4907280" y="10668"/>
                </a:lnTo>
                <a:close/>
              </a:path>
              <a:path w="4916805" h="2932429">
                <a:moveTo>
                  <a:pt x="4907280" y="2927604"/>
                </a:moveTo>
                <a:lnTo>
                  <a:pt x="4907280" y="6096"/>
                </a:lnTo>
                <a:lnTo>
                  <a:pt x="4911852" y="10668"/>
                </a:lnTo>
                <a:lnTo>
                  <a:pt x="4916424" y="10668"/>
                </a:lnTo>
                <a:lnTo>
                  <a:pt x="4916424" y="2923032"/>
                </a:lnTo>
                <a:lnTo>
                  <a:pt x="4911852" y="2923032"/>
                </a:lnTo>
                <a:lnTo>
                  <a:pt x="4907280" y="2927604"/>
                </a:lnTo>
                <a:close/>
              </a:path>
              <a:path w="4916805" h="2932429">
                <a:moveTo>
                  <a:pt x="4916424" y="10668"/>
                </a:moveTo>
                <a:lnTo>
                  <a:pt x="4911852" y="10668"/>
                </a:lnTo>
                <a:lnTo>
                  <a:pt x="4907280" y="6096"/>
                </a:lnTo>
                <a:lnTo>
                  <a:pt x="4916424" y="6096"/>
                </a:lnTo>
                <a:lnTo>
                  <a:pt x="4916424" y="10668"/>
                </a:lnTo>
                <a:close/>
              </a:path>
              <a:path w="4916805" h="2932429">
                <a:moveTo>
                  <a:pt x="9144" y="2927604"/>
                </a:moveTo>
                <a:lnTo>
                  <a:pt x="4572" y="2923032"/>
                </a:lnTo>
                <a:lnTo>
                  <a:pt x="9144" y="2923032"/>
                </a:lnTo>
                <a:lnTo>
                  <a:pt x="9144" y="2927604"/>
                </a:lnTo>
                <a:close/>
              </a:path>
              <a:path w="4916805" h="2932429">
                <a:moveTo>
                  <a:pt x="4907280" y="2927604"/>
                </a:moveTo>
                <a:lnTo>
                  <a:pt x="9144" y="2927604"/>
                </a:lnTo>
                <a:lnTo>
                  <a:pt x="9144" y="2923032"/>
                </a:lnTo>
                <a:lnTo>
                  <a:pt x="4907280" y="2923032"/>
                </a:lnTo>
                <a:lnTo>
                  <a:pt x="4907280" y="2927604"/>
                </a:lnTo>
                <a:close/>
              </a:path>
              <a:path w="4916805" h="2932429">
                <a:moveTo>
                  <a:pt x="4916424" y="2927604"/>
                </a:moveTo>
                <a:lnTo>
                  <a:pt x="4907280" y="2927604"/>
                </a:lnTo>
                <a:lnTo>
                  <a:pt x="4911852" y="2923032"/>
                </a:lnTo>
                <a:lnTo>
                  <a:pt x="4916424" y="2923032"/>
                </a:lnTo>
                <a:lnTo>
                  <a:pt x="4916424" y="2927604"/>
                </a:lnTo>
                <a:close/>
              </a:path>
            </a:pathLst>
          </a:custGeom>
          <a:solidFill>
            <a:srgbClr val="008EC1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5516431" y="2622176"/>
            <a:ext cx="139849" cy="2515945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4494455" y="3623981"/>
            <a:ext cx="201706" cy="201706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4191897" y="3623981"/>
            <a:ext cx="200360" cy="201706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4342504" y="3726179"/>
            <a:ext cx="201705" cy="201706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4645061" y="3726179"/>
            <a:ext cx="201706" cy="201706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4494455" y="3827032"/>
            <a:ext cx="201706" cy="201706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3887993" y="3623981"/>
            <a:ext cx="201706" cy="201706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4038599" y="3726179"/>
            <a:ext cx="201706" cy="201706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4191897" y="3827032"/>
            <a:ext cx="200360" cy="201706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3585434" y="3623981"/>
            <a:ext cx="201706" cy="201706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2" name="object 42"/>
          <p:cNvSpPr/>
          <p:nvPr/>
        </p:nvSpPr>
        <p:spPr>
          <a:xfrm>
            <a:off x="3736040" y="3726179"/>
            <a:ext cx="203051" cy="201706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3" name="object 43"/>
          <p:cNvSpPr/>
          <p:nvPr/>
        </p:nvSpPr>
        <p:spPr>
          <a:xfrm>
            <a:off x="3585434" y="3827032"/>
            <a:ext cx="201706" cy="201706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4" name="object 44"/>
          <p:cNvSpPr/>
          <p:nvPr/>
        </p:nvSpPr>
        <p:spPr>
          <a:xfrm>
            <a:off x="3887993" y="3827032"/>
            <a:ext cx="201706" cy="201706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4494455" y="4639235"/>
            <a:ext cx="201706" cy="201706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4191897" y="4639235"/>
            <a:ext cx="200360" cy="201706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7" name="object 47"/>
          <p:cNvSpPr/>
          <p:nvPr/>
        </p:nvSpPr>
        <p:spPr>
          <a:xfrm>
            <a:off x="4342504" y="4741433"/>
            <a:ext cx="201705" cy="200360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8" name="object 48"/>
          <p:cNvSpPr/>
          <p:nvPr/>
        </p:nvSpPr>
        <p:spPr>
          <a:xfrm>
            <a:off x="4645061" y="4741433"/>
            <a:ext cx="201706" cy="200360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9" name="object 49"/>
          <p:cNvSpPr/>
          <p:nvPr/>
        </p:nvSpPr>
        <p:spPr>
          <a:xfrm>
            <a:off x="4494455" y="4842285"/>
            <a:ext cx="201706" cy="201706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0" name="object 50"/>
          <p:cNvSpPr/>
          <p:nvPr/>
        </p:nvSpPr>
        <p:spPr>
          <a:xfrm>
            <a:off x="3887993" y="4639235"/>
            <a:ext cx="201706" cy="201706"/>
          </a:xfrm>
          <a:prstGeom prst="rect">
            <a:avLst/>
          </a:prstGeom>
          <a:blipFill>
            <a:blip r:embed="rId2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4038599" y="4741433"/>
            <a:ext cx="201706" cy="200360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2" name="object 52"/>
          <p:cNvSpPr/>
          <p:nvPr/>
        </p:nvSpPr>
        <p:spPr>
          <a:xfrm>
            <a:off x="4191897" y="4842285"/>
            <a:ext cx="200360" cy="201706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3585434" y="4639235"/>
            <a:ext cx="201706" cy="201706"/>
          </a:xfrm>
          <a:prstGeom prst="rect">
            <a:avLst/>
          </a:prstGeom>
          <a:blipFill>
            <a:blip r:embed="rId3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4" name="object 54"/>
          <p:cNvSpPr/>
          <p:nvPr/>
        </p:nvSpPr>
        <p:spPr>
          <a:xfrm>
            <a:off x="3736040" y="4741433"/>
            <a:ext cx="203051" cy="200360"/>
          </a:xfrm>
          <a:prstGeom prst="rect">
            <a:avLst/>
          </a:prstGeom>
          <a:blipFill>
            <a:blip r:embed="rId3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5" name="object 55"/>
          <p:cNvSpPr/>
          <p:nvPr/>
        </p:nvSpPr>
        <p:spPr>
          <a:xfrm>
            <a:off x="3585434" y="4842285"/>
            <a:ext cx="201706" cy="201706"/>
          </a:xfrm>
          <a:prstGeom prst="rect">
            <a:avLst/>
          </a:prstGeom>
          <a:blipFill>
            <a:blip r:embed="rId3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6" name="object 56"/>
          <p:cNvSpPr/>
          <p:nvPr/>
        </p:nvSpPr>
        <p:spPr>
          <a:xfrm>
            <a:off x="3887993" y="4842285"/>
            <a:ext cx="201706" cy="201706"/>
          </a:xfrm>
          <a:prstGeom prst="rect">
            <a:avLst/>
          </a:prstGeom>
          <a:blipFill>
            <a:blip r:embed="rId3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7" name="object 57"/>
          <p:cNvSpPr/>
          <p:nvPr/>
        </p:nvSpPr>
        <p:spPr>
          <a:xfrm>
            <a:off x="3787140" y="3472030"/>
            <a:ext cx="151952" cy="150606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8" name="object 58"/>
          <p:cNvSpPr/>
          <p:nvPr/>
        </p:nvSpPr>
        <p:spPr>
          <a:xfrm>
            <a:off x="4191897" y="3623981"/>
            <a:ext cx="150607" cy="151952"/>
          </a:xfrm>
          <a:prstGeom prst="rect">
            <a:avLst/>
          </a:prstGeom>
          <a:blipFill>
            <a:blip r:embed="rId3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9" name="object 59"/>
          <p:cNvSpPr/>
          <p:nvPr/>
        </p:nvSpPr>
        <p:spPr>
          <a:xfrm>
            <a:off x="4645061" y="3117028"/>
            <a:ext cx="201706" cy="201706"/>
          </a:xfrm>
          <a:prstGeom prst="rect">
            <a:avLst/>
          </a:prstGeom>
          <a:blipFill>
            <a:blip r:embed="rId3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4342504" y="3117028"/>
            <a:ext cx="201705" cy="201706"/>
          </a:xfrm>
          <a:prstGeom prst="rect">
            <a:avLst/>
          </a:prstGeom>
          <a:blipFill>
            <a:blip r:embed="rId3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1" name="object 61"/>
          <p:cNvSpPr/>
          <p:nvPr/>
        </p:nvSpPr>
        <p:spPr>
          <a:xfrm>
            <a:off x="4494455" y="3217881"/>
            <a:ext cx="201706" cy="203051"/>
          </a:xfrm>
          <a:prstGeom prst="rect">
            <a:avLst/>
          </a:prstGeom>
          <a:blipFill>
            <a:blip r:embed="rId3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2" name="object 62"/>
          <p:cNvSpPr/>
          <p:nvPr/>
        </p:nvSpPr>
        <p:spPr>
          <a:xfrm>
            <a:off x="4795668" y="3217881"/>
            <a:ext cx="203051" cy="203051"/>
          </a:xfrm>
          <a:prstGeom prst="rect">
            <a:avLst/>
          </a:prstGeom>
          <a:blipFill>
            <a:blip r:embed="rId4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3" name="object 63"/>
          <p:cNvSpPr/>
          <p:nvPr/>
        </p:nvSpPr>
        <p:spPr>
          <a:xfrm>
            <a:off x="4645061" y="3320078"/>
            <a:ext cx="201706" cy="201706"/>
          </a:xfrm>
          <a:prstGeom prst="rect">
            <a:avLst/>
          </a:prstGeom>
          <a:blipFill>
            <a:blip r:embed="rId4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4" name="object 64"/>
          <p:cNvSpPr/>
          <p:nvPr/>
        </p:nvSpPr>
        <p:spPr>
          <a:xfrm>
            <a:off x="4038599" y="3117028"/>
            <a:ext cx="201706" cy="201706"/>
          </a:xfrm>
          <a:prstGeom prst="rect">
            <a:avLst/>
          </a:prstGeom>
          <a:blipFill>
            <a:blip r:embed="rId4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5" name="object 65"/>
          <p:cNvSpPr/>
          <p:nvPr/>
        </p:nvSpPr>
        <p:spPr>
          <a:xfrm>
            <a:off x="4191897" y="3217881"/>
            <a:ext cx="200360" cy="203051"/>
          </a:xfrm>
          <a:prstGeom prst="rect">
            <a:avLst/>
          </a:prstGeom>
          <a:blipFill>
            <a:blip r:embed="rId4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6" name="object 66"/>
          <p:cNvSpPr/>
          <p:nvPr/>
        </p:nvSpPr>
        <p:spPr>
          <a:xfrm>
            <a:off x="4342504" y="3320078"/>
            <a:ext cx="201705" cy="201706"/>
          </a:xfrm>
          <a:prstGeom prst="rect">
            <a:avLst/>
          </a:prstGeom>
          <a:blipFill>
            <a:blip r:embed="rId4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7" name="object 67"/>
          <p:cNvSpPr/>
          <p:nvPr/>
        </p:nvSpPr>
        <p:spPr>
          <a:xfrm>
            <a:off x="3736040" y="3117028"/>
            <a:ext cx="203051" cy="201706"/>
          </a:xfrm>
          <a:prstGeom prst="rect">
            <a:avLst/>
          </a:prstGeom>
          <a:blipFill>
            <a:blip r:embed="rId4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8" name="object 68"/>
          <p:cNvSpPr/>
          <p:nvPr/>
        </p:nvSpPr>
        <p:spPr>
          <a:xfrm>
            <a:off x="3887993" y="3217881"/>
            <a:ext cx="201706" cy="203051"/>
          </a:xfrm>
          <a:prstGeom prst="rect">
            <a:avLst/>
          </a:prstGeom>
          <a:blipFill>
            <a:blip r:embed="rId4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9" name="object 69"/>
          <p:cNvSpPr/>
          <p:nvPr/>
        </p:nvSpPr>
        <p:spPr>
          <a:xfrm>
            <a:off x="3736040" y="3320078"/>
            <a:ext cx="203051" cy="201706"/>
          </a:xfrm>
          <a:prstGeom prst="rect">
            <a:avLst/>
          </a:prstGeom>
          <a:blipFill>
            <a:blip r:embed="rId4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0" name="object 70"/>
          <p:cNvSpPr/>
          <p:nvPr/>
        </p:nvSpPr>
        <p:spPr>
          <a:xfrm>
            <a:off x="4038599" y="3320078"/>
            <a:ext cx="201706" cy="201706"/>
          </a:xfrm>
          <a:prstGeom prst="rect">
            <a:avLst/>
          </a:prstGeom>
          <a:blipFill>
            <a:blip r:embed="rId4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1" name="object 71"/>
          <p:cNvSpPr/>
          <p:nvPr/>
        </p:nvSpPr>
        <p:spPr>
          <a:xfrm>
            <a:off x="3887993" y="3016175"/>
            <a:ext cx="100853" cy="99508"/>
          </a:xfrm>
          <a:prstGeom prst="rect">
            <a:avLst/>
          </a:prstGeom>
          <a:blipFill>
            <a:blip r:embed="rId4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2" name="object 72"/>
          <p:cNvSpPr/>
          <p:nvPr/>
        </p:nvSpPr>
        <p:spPr>
          <a:xfrm>
            <a:off x="4191897" y="3016175"/>
            <a:ext cx="99507" cy="99508"/>
          </a:xfrm>
          <a:prstGeom prst="rect">
            <a:avLst/>
          </a:prstGeom>
          <a:blipFill>
            <a:blip r:embed="rId5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3" name="object 73"/>
          <p:cNvSpPr/>
          <p:nvPr/>
        </p:nvSpPr>
        <p:spPr>
          <a:xfrm>
            <a:off x="4645062" y="3168127"/>
            <a:ext cx="99507" cy="99508"/>
          </a:xfrm>
          <a:prstGeom prst="rect">
            <a:avLst/>
          </a:prstGeom>
          <a:blipFill>
            <a:blip r:embed="rId5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4" name="object 74"/>
          <p:cNvSpPr/>
          <p:nvPr/>
        </p:nvSpPr>
        <p:spPr>
          <a:xfrm>
            <a:off x="4448736" y="2538804"/>
            <a:ext cx="200360" cy="203051"/>
          </a:xfrm>
          <a:prstGeom prst="rect">
            <a:avLst/>
          </a:prstGeom>
          <a:blipFill>
            <a:blip r:embed="rId5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5" name="object 75"/>
          <p:cNvSpPr/>
          <p:nvPr/>
        </p:nvSpPr>
        <p:spPr>
          <a:xfrm>
            <a:off x="4191897" y="2610074"/>
            <a:ext cx="200360" cy="200360"/>
          </a:xfrm>
          <a:prstGeom prst="rect">
            <a:avLst/>
          </a:prstGeom>
          <a:blipFill>
            <a:blip r:embed="rId5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6" name="object 76"/>
          <p:cNvSpPr/>
          <p:nvPr/>
        </p:nvSpPr>
        <p:spPr>
          <a:xfrm>
            <a:off x="4342504" y="2710926"/>
            <a:ext cx="201705" cy="201706"/>
          </a:xfrm>
          <a:prstGeom prst="rect">
            <a:avLst/>
          </a:prstGeom>
          <a:blipFill>
            <a:blip r:embed="rId3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7" name="object 77"/>
          <p:cNvSpPr/>
          <p:nvPr/>
        </p:nvSpPr>
        <p:spPr>
          <a:xfrm>
            <a:off x="4645061" y="2710926"/>
            <a:ext cx="201706" cy="201706"/>
          </a:xfrm>
          <a:prstGeom prst="rect">
            <a:avLst/>
          </a:prstGeom>
          <a:blipFill>
            <a:blip r:embed="rId5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8" name="object 78"/>
          <p:cNvSpPr/>
          <p:nvPr/>
        </p:nvSpPr>
        <p:spPr>
          <a:xfrm>
            <a:off x="3887993" y="2610074"/>
            <a:ext cx="201706" cy="200360"/>
          </a:xfrm>
          <a:prstGeom prst="rect">
            <a:avLst/>
          </a:prstGeom>
          <a:blipFill>
            <a:blip r:embed="rId5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9" name="object 79"/>
          <p:cNvSpPr/>
          <p:nvPr/>
        </p:nvSpPr>
        <p:spPr>
          <a:xfrm>
            <a:off x="4494455" y="2811779"/>
            <a:ext cx="201706" cy="203051"/>
          </a:xfrm>
          <a:prstGeom prst="rect">
            <a:avLst/>
          </a:prstGeom>
          <a:blipFill>
            <a:blip r:embed="rId5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0" name="object 80"/>
          <p:cNvSpPr/>
          <p:nvPr/>
        </p:nvSpPr>
        <p:spPr>
          <a:xfrm>
            <a:off x="3585434" y="2610074"/>
            <a:ext cx="201706" cy="200360"/>
          </a:xfrm>
          <a:prstGeom prst="rect">
            <a:avLst/>
          </a:prstGeom>
          <a:blipFill>
            <a:blip r:embed="rId5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1" name="object 81"/>
          <p:cNvSpPr/>
          <p:nvPr/>
        </p:nvSpPr>
        <p:spPr>
          <a:xfrm>
            <a:off x="4038599" y="2710926"/>
            <a:ext cx="201706" cy="201706"/>
          </a:xfrm>
          <a:prstGeom prst="rect">
            <a:avLst/>
          </a:prstGeom>
          <a:blipFill>
            <a:blip r:embed="rId5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2" name="object 82"/>
          <p:cNvSpPr/>
          <p:nvPr/>
        </p:nvSpPr>
        <p:spPr>
          <a:xfrm>
            <a:off x="3736040" y="2710926"/>
            <a:ext cx="203051" cy="201706"/>
          </a:xfrm>
          <a:prstGeom prst="rect">
            <a:avLst/>
          </a:prstGeom>
          <a:blipFill>
            <a:blip r:embed="rId5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3" name="object 83"/>
          <p:cNvSpPr/>
          <p:nvPr/>
        </p:nvSpPr>
        <p:spPr>
          <a:xfrm>
            <a:off x="3887993" y="2811779"/>
            <a:ext cx="201706" cy="203051"/>
          </a:xfrm>
          <a:prstGeom prst="rect">
            <a:avLst/>
          </a:prstGeom>
          <a:blipFill>
            <a:blip r:embed="rId6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4" name="object 84"/>
          <p:cNvSpPr/>
          <p:nvPr/>
        </p:nvSpPr>
        <p:spPr>
          <a:xfrm>
            <a:off x="4191897" y="2811779"/>
            <a:ext cx="200360" cy="203051"/>
          </a:xfrm>
          <a:prstGeom prst="rect">
            <a:avLst/>
          </a:prstGeom>
          <a:blipFill>
            <a:blip r:embed="rId4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5" name="object 85"/>
          <p:cNvSpPr/>
          <p:nvPr/>
        </p:nvSpPr>
        <p:spPr>
          <a:xfrm>
            <a:off x="3585434" y="2811779"/>
            <a:ext cx="201706" cy="203051"/>
          </a:xfrm>
          <a:prstGeom prst="rect">
            <a:avLst/>
          </a:prstGeom>
          <a:blipFill>
            <a:blip r:embed="rId6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6" name="object 86"/>
          <p:cNvSpPr/>
          <p:nvPr/>
        </p:nvSpPr>
        <p:spPr>
          <a:xfrm>
            <a:off x="3687632" y="4639236"/>
            <a:ext cx="150607" cy="150606"/>
          </a:xfrm>
          <a:prstGeom prst="rect">
            <a:avLst/>
          </a:prstGeom>
          <a:blipFill>
            <a:blip r:embed="rId6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7" name="object 87"/>
          <p:cNvSpPr/>
          <p:nvPr/>
        </p:nvSpPr>
        <p:spPr>
          <a:xfrm>
            <a:off x="4089699" y="4487284"/>
            <a:ext cx="150606" cy="150607"/>
          </a:xfrm>
          <a:prstGeom prst="rect">
            <a:avLst/>
          </a:prstGeom>
          <a:blipFill>
            <a:blip r:embed="rId6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8" name="object 88"/>
          <p:cNvSpPr/>
          <p:nvPr/>
        </p:nvSpPr>
        <p:spPr>
          <a:xfrm>
            <a:off x="4645061" y="4132281"/>
            <a:ext cx="201706" cy="201706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9" name="object 89"/>
          <p:cNvSpPr/>
          <p:nvPr/>
        </p:nvSpPr>
        <p:spPr>
          <a:xfrm>
            <a:off x="4342504" y="4132281"/>
            <a:ext cx="201705" cy="201706"/>
          </a:xfrm>
          <a:prstGeom prst="rect">
            <a:avLst/>
          </a:prstGeom>
          <a:blipFill>
            <a:blip r:embed="rId6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0" name="object 90"/>
          <p:cNvSpPr/>
          <p:nvPr/>
        </p:nvSpPr>
        <p:spPr>
          <a:xfrm>
            <a:off x="4494455" y="4233134"/>
            <a:ext cx="201706" cy="201706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1" name="object 91"/>
          <p:cNvSpPr/>
          <p:nvPr/>
        </p:nvSpPr>
        <p:spPr>
          <a:xfrm>
            <a:off x="4795668" y="4233134"/>
            <a:ext cx="203051" cy="201706"/>
          </a:xfrm>
          <a:prstGeom prst="rect">
            <a:avLst/>
          </a:prstGeom>
          <a:blipFill>
            <a:blip r:embed="rId6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2" name="object 92"/>
          <p:cNvSpPr/>
          <p:nvPr/>
        </p:nvSpPr>
        <p:spPr>
          <a:xfrm>
            <a:off x="4645061" y="4335332"/>
            <a:ext cx="201706" cy="200360"/>
          </a:xfrm>
          <a:prstGeom prst="rect">
            <a:avLst/>
          </a:prstGeom>
          <a:blipFill>
            <a:blip r:embed="rId6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3" name="object 93"/>
          <p:cNvSpPr/>
          <p:nvPr/>
        </p:nvSpPr>
        <p:spPr>
          <a:xfrm>
            <a:off x="4038599" y="4132281"/>
            <a:ext cx="201706" cy="201706"/>
          </a:xfrm>
          <a:prstGeom prst="rect">
            <a:avLst/>
          </a:prstGeom>
          <a:blipFill>
            <a:blip r:embed="rId6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4" name="object 94"/>
          <p:cNvSpPr/>
          <p:nvPr/>
        </p:nvSpPr>
        <p:spPr>
          <a:xfrm>
            <a:off x="4191897" y="4233134"/>
            <a:ext cx="200360" cy="201706"/>
          </a:xfrm>
          <a:prstGeom prst="rect">
            <a:avLst/>
          </a:prstGeom>
          <a:blipFill>
            <a:blip r:embed="rId6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5" name="object 95"/>
          <p:cNvSpPr/>
          <p:nvPr/>
        </p:nvSpPr>
        <p:spPr>
          <a:xfrm>
            <a:off x="4342504" y="4335332"/>
            <a:ext cx="201705" cy="200360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6" name="object 96"/>
          <p:cNvSpPr/>
          <p:nvPr/>
        </p:nvSpPr>
        <p:spPr>
          <a:xfrm>
            <a:off x="3736040" y="4132281"/>
            <a:ext cx="203051" cy="201706"/>
          </a:xfrm>
          <a:prstGeom prst="rect">
            <a:avLst/>
          </a:prstGeom>
          <a:blipFill>
            <a:blip r:embed="rId6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7" name="object 97"/>
          <p:cNvSpPr/>
          <p:nvPr/>
        </p:nvSpPr>
        <p:spPr>
          <a:xfrm>
            <a:off x="3887993" y="4233134"/>
            <a:ext cx="201706" cy="201706"/>
          </a:xfrm>
          <a:prstGeom prst="rect">
            <a:avLst/>
          </a:prstGeom>
          <a:blipFill>
            <a:blip r:embed="rId2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8" name="object 98"/>
          <p:cNvSpPr/>
          <p:nvPr/>
        </p:nvSpPr>
        <p:spPr>
          <a:xfrm>
            <a:off x="3736040" y="4335332"/>
            <a:ext cx="203051" cy="200360"/>
          </a:xfrm>
          <a:prstGeom prst="rect">
            <a:avLst/>
          </a:prstGeom>
          <a:blipFill>
            <a:blip r:embed="rId3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9" name="object 99"/>
          <p:cNvSpPr/>
          <p:nvPr/>
        </p:nvSpPr>
        <p:spPr>
          <a:xfrm>
            <a:off x="4038599" y="4335332"/>
            <a:ext cx="201706" cy="200360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0" name="object 100"/>
          <p:cNvSpPr/>
          <p:nvPr/>
        </p:nvSpPr>
        <p:spPr>
          <a:xfrm>
            <a:off x="3887993" y="4030084"/>
            <a:ext cx="100853" cy="100853"/>
          </a:xfrm>
          <a:prstGeom prst="rect">
            <a:avLst/>
          </a:prstGeom>
          <a:blipFill>
            <a:blip r:embed="rId7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1" name="object 101"/>
          <p:cNvSpPr/>
          <p:nvPr/>
        </p:nvSpPr>
        <p:spPr>
          <a:xfrm>
            <a:off x="4191897" y="4030084"/>
            <a:ext cx="99507" cy="100853"/>
          </a:xfrm>
          <a:prstGeom prst="rect">
            <a:avLst/>
          </a:prstGeom>
          <a:blipFill>
            <a:blip r:embed="rId7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2" name="object 102"/>
          <p:cNvSpPr/>
          <p:nvPr/>
        </p:nvSpPr>
        <p:spPr>
          <a:xfrm>
            <a:off x="4511935" y="3675081"/>
            <a:ext cx="151952" cy="150606"/>
          </a:xfrm>
          <a:prstGeom prst="rect">
            <a:avLst/>
          </a:prstGeom>
          <a:blipFill>
            <a:blip r:embed="rId7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3" name="object 103"/>
          <p:cNvSpPr/>
          <p:nvPr/>
        </p:nvSpPr>
        <p:spPr>
          <a:xfrm>
            <a:off x="3999602" y="3168127"/>
            <a:ext cx="102198" cy="99508"/>
          </a:xfrm>
          <a:prstGeom prst="rect">
            <a:avLst/>
          </a:prstGeom>
          <a:blipFill>
            <a:blip r:embed="rId7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4" name="object 104"/>
          <p:cNvSpPr/>
          <p:nvPr/>
        </p:nvSpPr>
        <p:spPr>
          <a:xfrm>
            <a:off x="4326367" y="3168127"/>
            <a:ext cx="102198" cy="99508"/>
          </a:xfrm>
          <a:prstGeom prst="rect">
            <a:avLst/>
          </a:prstGeom>
          <a:blipFill>
            <a:blip r:embed="rId7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5" name="object 105"/>
          <p:cNvSpPr/>
          <p:nvPr/>
        </p:nvSpPr>
        <p:spPr>
          <a:xfrm>
            <a:off x="4511935" y="3016175"/>
            <a:ext cx="102198" cy="99508"/>
          </a:xfrm>
          <a:prstGeom prst="rect">
            <a:avLst/>
          </a:prstGeom>
          <a:blipFill>
            <a:blip r:embed="rId7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6" name="object 106"/>
          <p:cNvSpPr/>
          <p:nvPr/>
        </p:nvSpPr>
        <p:spPr>
          <a:xfrm>
            <a:off x="4046667" y="4182035"/>
            <a:ext cx="100853" cy="100853"/>
          </a:xfrm>
          <a:prstGeom prst="rect">
            <a:avLst/>
          </a:prstGeom>
          <a:blipFill>
            <a:blip r:embed="rId7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7" name="object 107"/>
          <p:cNvSpPr/>
          <p:nvPr/>
        </p:nvSpPr>
        <p:spPr>
          <a:xfrm>
            <a:off x="4373431" y="4182035"/>
            <a:ext cx="100853" cy="100853"/>
          </a:xfrm>
          <a:prstGeom prst="rect">
            <a:avLst/>
          </a:prstGeom>
          <a:blipFill>
            <a:blip r:embed="rId7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8" name="object 108"/>
          <p:cNvSpPr/>
          <p:nvPr/>
        </p:nvSpPr>
        <p:spPr>
          <a:xfrm>
            <a:off x="4651785" y="4182035"/>
            <a:ext cx="100853" cy="100853"/>
          </a:xfrm>
          <a:prstGeom prst="rect">
            <a:avLst/>
          </a:prstGeom>
          <a:blipFill>
            <a:blip r:embed="rId7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9" name="object 109"/>
          <p:cNvSpPr/>
          <p:nvPr/>
        </p:nvSpPr>
        <p:spPr>
          <a:xfrm>
            <a:off x="4511935" y="4030084"/>
            <a:ext cx="102198" cy="100853"/>
          </a:xfrm>
          <a:prstGeom prst="rect">
            <a:avLst/>
          </a:prstGeom>
          <a:blipFill>
            <a:blip r:embed="rId7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0" name="object 110"/>
          <p:cNvSpPr/>
          <p:nvPr/>
        </p:nvSpPr>
        <p:spPr>
          <a:xfrm>
            <a:off x="5827059" y="3463962"/>
            <a:ext cx="151952" cy="164053"/>
          </a:xfrm>
          <a:prstGeom prst="rect">
            <a:avLst/>
          </a:prstGeom>
          <a:blipFill>
            <a:blip r:embed="rId8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1" name="object 111"/>
          <p:cNvSpPr/>
          <p:nvPr/>
        </p:nvSpPr>
        <p:spPr>
          <a:xfrm>
            <a:off x="5745031" y="4753536"/>
            <a:ext cx="153296" cy="165398"/>
          </a:xfrm>
          <a:prstGeom prst="rect">
            <a:avLst/>
          </a:prstGeom>
          <a:blipFill>
            <a:blip r:embed="rId8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2" name="object 112"/>
          <p:cNvSpPr/>
          <p:nvPr/>
        </p:nvSpPr>
        <p:spPr>
          <a:xfrm>
            <a:off x="6063726" y="4260029"/>
            <a:ext cx="151952" cy="165398"/>
          </a:xfrm>
          <a:prstGeom prst="rect">
            <a:avLst/>
          </a:prstGeom>
          <a:blipFill>
            <a:blip r:embed="rId8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3" name="object 113"/>
          <p:cNvSpPr/>
          <p:nvPr/>
        </p:nvSpPr>
        <p:spPr>
          <a:xfrm>
            <a:off x="5731585" y="2848087"/>
            <a:ext cx="153296" cy="162709"/>
          </a:xfrm>
          <a:prstGeom prst="rect">
            <a:avLst/>
          </a:prstGeom>
          <a:blipFill>
            <a:blip r:embed="rId8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4" name="object 114"/>
          <p:cNvSpPr/>
          <p:nvPr/>
        </p:nvSpPr>
        <p:spPr>
          <a:xfrm>
            <a:off x="5199081" y="4382396"/>
            <a:ext cx="147917" cy="162709"/>
          </a:xfrm>
          <a:prstGeom prst="rect">
            <a:avLst/>
          </a:prstGeom>
          <a:blipFill>
            <a:blip r:embed="rId8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5" name="object 115"/>
          <p:cNvSpPr/>
          <p:nvPr/>
        </p:nvSpPr>
        <p:spPr>
          <a:xfrm>
            <a:off x="5337587" y="4682265"/>
            <a:ext cx="149261" cy="162709"/>
          </a:xfrm>
          <a:prstGeom prst="rect">
            <a:avLst/>
          </a:prstGeom>
          <a:blipFill>
            <a:blip r:embed="rId8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6" name="object 116"/>
          <p:cNvSpPr/>
          <p:nvPr/>
        </p:nvSpPr>
        <p:spPr>
          <a:xfrm>
            <a:off x="5152017" y="3559437"/>
            <a:ext cx="149261" cy="162709"/>
          </a:xfrm>
          <a:prstGeom prst="rect">
            <a:avLst/>
          </a:prstGeom>
          <a:blipFill>
            <a:blip r:embed="rId8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7" name="object 117"/>
          <p:cNvSpPr/>
          <p:nvPr/>
        </p:nvSpPr>
        <p:spPr>
          <a:xfrm>
            <a:off x="5107640" y="2942216"/>
            <a:ext cx="146573" cy="162709"/>
          </a:xfrm>
          <a:prstGeom prst="rect">
            <a:avLst/>
          </a:prstGeom>
          <a:blipFill>
            <a:blip r:embed="rId8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8" name="object 118"/>
          <p:cNvSpPr/>
          <p:nvPr/>
        </p:nvSpPr>
        <p:spPr>
          <a:xfrm>
            <a:off x="6781801" y="3782657"/>
            <a:ext cx="566457" cy="96931"/>
          </a:xfrm>
          <a:custGeom>
            <a:avLst/>
            <a:gdLst/>
            <a:ahLst/>
            <a:cxnLst/>
            <a:rect l="l" t="t" r="r" b="b"/>
            <a:pathLst>
              <a:path w="641985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9" name="object 119"/>
          <p:cNvSpPr/>
          <p:nvPr/>
        </p:nvSpPr>
        <p:spPr>
          <a:xfrm>
            <a:off x="6764319" y="3777278"/>
            <a:ext cx="601196" cy="107576"/>
          </a:xfrm>
          <a:custGeom>
            <a:avLst/>
            <a:gdLst/>
            <a:ahLst/>
            <a:cxnLst/>
            <a:rect l="l" t="t" r="r" b="b"/>
            <a:pathLst>
              <a:path w="681354" h="121920">
                <a:moveTo>
                  <a:pt x="499872" y="121920"/>
                </a:moveTo>
                <a:lnTo>
                  <a:pt x="182880" y="121920"/>
                </a:lnTo>
                <a:lnTo>
                  <a:pt x="0" y="60960"/>
                </a:lnTo>
                <a:lnTo>
                  <a:pt x="182880" y="0"/>
                </a:lnTo>
                <a:lnTo>
                  <a:pt x="499872" y="0"/>
                </a:lnTo>
                <a:lnTo>
                  <a:pt x="536143" y="12192"/>
                </a:lnTo>
                <a:lnTo>
                  <a:pt x="185928" y="12192"/>
                </a:lnTo>
                <a:lnTo>
                  <a:pt x="59097" y="54864"/>
                </a:lnTo>
                <a:lnTo>
                  <a:pt x="22860" y="54864"/>
                </a:lnTo>
                <a:lnTo>
                  <a:pt x="22860" y="67056"/>
                </a:lnTo>
                <a:lnTo>
                  <a:pt x="59097" y="67056"/>
                </a:lnTo>
                <a:lnTo>
                  <a:pt x="185928" y="109728"/>
                </a:lnTo>
                <a:lnTo>
                  <a:pt x="536143" y="109728"/>
                </a:lnTo>
                <a:lnTo>
                  <a:pt x="499872" y="121920"/>
                </a:lnTo>
                <a:close/>
              </a:path>
              <a:path w="681354" h="121920">
                <a:moveTo>
                  <a:pt x="641773" y="60960"/>
                </a:moveTo>
                <a:lnTo>
                  <a:pt x="496824" y="12192"/>
                </a:lnTo>
                <a:lnTo>
                  <a:pt x="536143" y="12192"/>
                </a:lnTo>
                <a:lnTo>
                  <a:pt x="663092" y="54864"/>
                </a:lnTo>
                <a:lnTo>
                  <a:pt x="659892" y="54864"/>
                </a:lnTo>
                <a:lnTo>
                  <a:pt x="641773" y="60960"/>
                </a:lnTo>
                <a:close/>
              </a:path>
              <a:path w="681354" h="121920">
                <a:moveTo>
                  <a:pt x="22860" y="67056"/>
                </a:moveTo>
                <a:lnTo>
                  <a:pt x="22860" y="54864"/>
                </a:lnTo>
                <a:lnTo>
                  <a:pt x="40978" y="60960"/>
                </a:lnTo>
                <a:lnTo>
                  <a:pt x="22860" y="67056"/>
                </a:lnTo>
                <a:close/>
              </a:path>
              <a:path w="681354" h="121920">
                <a:moveTo>
                  <a:pt x="40978" y="60960"/>
                </a:moveTo>
                <a:lnTo>
                  <a:pt x="22860" y="54864"/>
                </a:lnTo>
                <a:lnTo>
                  <a:pt x="59097" y="54864"/>
                </a:lnTo>
                <a:lnTo>
                  <a:pt x="40978" y="60960"/>
                </a:lnTo>
                <a:close/>
              </a:path>
              <a:path w="681354" h="121920">
                <a:moveTo>
                  <a:pt x="659892" y="67056"/>
                </a:moveTo>
                <a:lnTo>
                  <a:pt x="641773" y="60960"/>
                </a:lnTo>
                <a:lnTo>
                  <a:pt x="659892" y="54864"/>
                </a:lnTo>
                <a:lnTo>
                  <a:pt x="659892" y="67056"/>
                </a:lnTo>
                <a:close/>
              </a:path>
              <a:path w="681354" h="121920">
                <a:moveTo>
                  <a:pt x="663092" y="67056"/>
                </a:moveTo>
                <a:lnTo>
                  <a:pt x="659892" y="67056"/>
                </a:lnTo>
                <a:lnTo>
                  <a:pt x="659892" y="54864"/>
                </a:lnTo>
                <a:lnTo>
                  <a:pt x="663092" y="54864"/>
                </a:lnTo>
                <a:lnTo>
                  <a:pt x="681228" y="60960"/>
                </a:lnTo>
                <a:lnTo>
                  <a:pt x="663092" y="67056"/>
                </a:lnTo>
                <a:close/>
              </a:path>
              <a:path w="681354" h="121920">
                <a:moveTo>
                  <a:pt x="59097" y="67056"/>
                </a:moveTo>
                <a:lnTo>
                  <a:pt x="22860" y="67056"/>
                </a:lnTo>
                <a:lnTo>
                  <a:pt x="40978" y="60960"/>
                </a:lnTo>
                <a:lnTo>
                  <a:pt x="59097" y="67056"/>
                </a:lnTo>
                <a:close/>
              </a:path>
              <a:path w="681354" h="121920">
                <a:moveTo>
                  <a:pt x="536143" y="109728"/>
                </a:moveTo>
                <a:lnTo>
                  <a:pt x="496824" y="109728"/>
                </a:lnTo>
                <a:lnTo>
                  <a:pt x="641773" y="60960"/>
                </a:lnTo>
                <a:lnTo>
                  <a:pt x="659892" y="67056"/>
                </a:lnTo>
                <a:lnTo>
                  <a:pt x="663092" y="67056"/>
                </a:lnTo>
                <a:lnTo>
                  <a:pt x="536143" y="1097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0" name="object 120"/>
          <p:cNvSpPr/>
          <p:nvPr/>
        </p:nvSpPr>
        <p:spPr>
          <a:xfrm>
            <a:off x="6364941" y="3623983"/>
            <a:ext cx="564776" cy="96931"/>
          </a:xfrm>
          <a:custGeom>
            <a:avLst/>
            <a:gdLst/>
            <a:ahLst/>
            <a:cxnLst/>
            <a:rect l="l" t="t" r="r" b="b"/>
            <a:pathLst>
              <a:path w="640079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0080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1" name="object 121"/>
          <p:cNvSpPr/>
          <p:nvPr/>
        </p:nvSpPr>
        <p:spPr>
          <a:xfrm>
            <a:off x="6347460" y="3618604"/>
            <a:ext cx="600075" cy="107576"/>
          </a:xfrm>
          <a:custGeom>
            <a:avLst/>
            <a:gdLst/>
            <a:ahLst/>
            <a:cxnLst/>
            <a:rect l="l" t="t" r="r" b="b"/>
            <a:pathLst>
              <a:path w="680085" h="121920">
                <a:moveTo>
                  <a:pt x="498348" y="121920"/>
                </a:moveTo>
                <a:lnTo>
                  <a:pt x="181356" y="121920"/>
                </a:lnTo>
                <a:lnTo>
                  <a:pt x="0" y="60960"/>
                </a:lnTo>
                <a:lnTo>
                  <a:pt x="181356" y="0"/>
                </a:lnTo>
                <a:lnTo>
                  <a:pt x="498348" y="0"/>
                </a:lnTo>
                <a:lnTo>
                  <a:pt x="534619" y="12192"/>
                </a:lnTo>
                <a:lnTo>
                  <a:pt x="184404" y="12192"/>
                </a:lnTo>
                <a:lnTo>
                  <a:pt x="57573" y="54864"/>
                </a:lnTo>
                <a:lnTo>
                  <a:pt x="21336" y="54864"/>
                </a:lnTo>
                <a:lnTo>
                  <a:pt x="21336" y="67056"/>
                </a:lnTo>
                <a:lnTo>
                  <a:pt x="57573" y="67056"/>
                </a:lnTo>
                <a:lnTo>
                  <a:pt x="184404" y="109728"/>
                </a:lnTo>
                <a:lnTo>
                  <a:pt x="534619" y="109728"/>
                </a:lnTo>
                <a:lnTo>
                  <a:pt x="498348" y="121920"/>
                </a:lnTo>
                <a:close/>
              </a:path>
              <a:path w="680085" h="121920">
                <a:moveTo>
                  <a:pt x="640249" y="60960"/>
                </a:moveTo>
                <a:lnTo>
                  <a:pt x="495300" y="12192"/>
                </a:lnTo>
                <a:lnTo>
                  <a:pt x="534619" y="12192"/>
                </a:lnTo>
                <a:lnTo>
                  <a:pt x="661568" y="54864"/>
                </a:lnTo>
                <a:lnTo>
                  <a:pt x="658368" y="54864"/>
                </a:lnTo>
                <a:lnTo>
                  <a:pt x="640249" y="60960"/>
                </a:lnTo>
                <a:close/>
              </a:path>
              <a:path w="680085" h="121920">
                <a:moveTo>
                  <a:pt x="21336" y="67056"/>
                </a:moveTo>
                <a:lnTo>
                  <a:pt x="21336" y="54864"/>
                </a:lnTo>
                <a:lnTo>
                  <a:pt x="39454" y="60960"/>
                </a:lnTo>
                <a:lnTo>
                  <a:pt x="21336" y="67056"/>
                </a:lnTo>
                <a:close/>
              </a:path>
              <a:path w="680085" h="121920">
                <a:moveTo>
                  <a:pt x="39454" y="60960"/>
                </a:moveTo>
                <a:lnTo>
                  <a:pt x="21336" y="54864"/>
                </a:lnTo>
                <a:lnTo>
                  <a:pt x="57573" y="54864"/>
                </a:lnTo>
                <a:lnTo>
                  <a:pt x="39454" y="60960"/>
                </a:lnTo>
                <a:close/>
              </a:path>
              <a:path w="680085" h="121920">
                <a:moveTo>
                  <a:pt x="658368" y="67056"/>
                </a:moveTo>
                <a:lnTo>
                  <a:pt x="640249" y="60960"/>
                </a:lnTo>
                <a:lnTo>
                  <a:pt x="658368" y="54864"/>
                </a:lnTo>
                <a:lnTo>
                  <a:pt x="658368" y="67056"/>
                </a:lnTo>
                <a:close/>
              </a:path>
              <a:path w="680085" h="121920">
                <a:moveTo>
                  <a:pt x="661568" y="67056"/>
                </a:moveTo>
                <a:lnTo>
                  <a:pt x="658368" y="67056"/>
                </a:lnTo>
                <a:lnTo>
                  <a:pt x="658368" y="54864"/>
                </a:lnTo>
                <a:lnTo>
                  <a:pt x="661568" y="54864"/>
                </a:lnTo>
                <a:lnTo>
                  <a:pt x="679704" y="60960"/>
                </a:lnTo>
                <a:lnTo>
                  <a:pt x="661568" y="67056"/>
                </a:lnTo>
                <a:close/>
              </a:path>
              <a:path w="680085" h="121920">
                <a:moveTo>
                  <a:pt x="57573" y="67056"/>
                </a:moveTo>
                <a:lnTo>
                  <a:pt x="21336" y="67056"/>
                </a:lnTo>
                <a:lnTo>
                  <a:pt x="39454" y="60960"/>
                </a:lnTo>
                <a:lnTo>
                  <a:pt x="57573" y="67056"/>
                </a:lnTo>
                <a:close/>
              </a:path>
              <a:path w="680085" h="121920">
                <a:moveTo>
                  <a:pt x="534619" y="109728"/>
                </a:moveTo>
                <a:lnTo>
                  <a:pt x="495300" y="109728"/>
                </a:lnTo>
                <a:lnTo>
                  <a:pt x="640249" y="60960"/>
                </a:lnTo>
                <a:lnTo>
                  <a:pt x="658368" y="67056"/>
                </a:lnTo>
                <a:lnTo>
                  <a:pt x="661568" y="67056"/>
                </a:lnTo>
                <a:lnTo>
                  <a:pt x="534619" y="1097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2" name="object 122"/>
          <p:cNvSpPr/>
          <p:nvPr/>
        </p:nvSpPr>
        <p:spPr>
          <a:xfrm>
            <a:off x="6364941" y="3730215"/>
            <a:ext cx="564776" cy="96931"/>
          </a:xfrm>
          <a:custGeom>
            <a:avLst/>
            <a:gdLst/>
            <a:ahLst/>
            <a:cxnLst/>
            <a:rect l="l" t="t" r="r" b="b"/>
            <a:pathLst>
              <a:path w="640079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0080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3" name="object 123"/>
          <p:cNvSpPr/>
          <p:nvPr/>
        </p:nvSpPr>
        <p:spPr>
          <a:xfrm>
            <a:off x="6347460" y="3723490"/>
            <a:ext cx="600075" cy="109257"/>
          </a:xfrm>
          <a:custGeom>
            <a:avLst/>
            <a:gdLst/>
            <a:ahLst/>
            <a:cxnLst/>
            <a:rect l="l" t="t" r="r" b="b"/>
            <a:pathLst>
              <a:path w="680085" h="123825">
                <a:moveTo>
                  <a:pt x="498348" y="123444"/>
                </a:moveTo>
                <a:lnTo>
                  <a:pt x="181356" y="123444"/>
                </a:lnTo>
                <a:lnTo>
                  <a:pt x="0" y="62484"/>
                </a:lnTo>
                <a:lnTo>
                  <a:pt x="181356" y="0"/>
                </a:lnTo>
                <a:lnTo>
                  <a:pt x="498348" y="0"/>
                </a:lnTo>
                <a:lnTo>
                  <a:pt x="533734" y="12192"/>
                </a:lnTo>
                <a:lnTo>
                  <a:pt x="184404" y="12192"/>
                </a:lnTo>
                <a:lnTo>
                  <a:pt x="56593" y="56388"/>
                </a:lnTo>
                <a:lnTo>
                  <a:pt x="21336" y="56388"/>
                </a:lnTo>
                <a:lnTo>
                  <a:pt x="21336" y="68580"/>
                </a:lnTo>
                <a:lnTo>
                  <a:pt x="57573" y="68580"/>
                </a:lnTo>
                <a:lnTo>
                  <a:pt x="184404" y="111252"/>
                </a:lnTo>
                <a:lnTo>
                  <a:pt x="534619" y="111252"/>
                </a:lnTo>
                <a:lnTo>
                  <a:pt x="498348" y="123444"/>
                </a:lnTo>
                <a:close/>
              </a:path>
              <a:path w="680085" h="123825">
                <a:moveTo>
                  <a:pt x="498348" y="13716"/>
                </a:moveTo>
                <a:lnTo>
                  <a:pt x="182880" y="13716"/>
                </a:lnTo>
                <a:lnTo>
                  <a:pt x="184404" y="12192"/>
                </a:lnTo>
                <a:lnTo>
                  <a:pt x="495300" y="12192"/>
                </a:lnTo>
                <a:lnTo>
                  <a:pt x="498348" y="13716"/>
                </a:lnTo>
                <a:close/>
              </a:path>
              <a:path w="680085" h="123825">
                <a:moveTo>
                  <a:pt x="640497" y="62400"/>
                </a:moveTo>
                <a:lnTo>
                  <a:pt x="495300" y="12192"/>
                </a:lnTo>
                <a:lnTo>
                  <a:pt x="533734" y="12192"/>
                </a:lnTo>
                <a:lnTo>
                  <a:pt x="662010" y="56388"/>
                </a:lnTo>
                <a:lnTo>
                  <a:pt x="658368" y="56388"/>
                </a:lnTo>
                <a:lnTo>
                  <a:pt x="640497" y="62400"/>
                </a:lnTo>
                <a:close/>
              </a:path>
              <a:path w="680085" h="123825">
                <a:moveTo>
                  <a:pt x="21336" y="68580"/>
                </a:moveTo>
                <a:lnTo>
                  <a:pt x="21336" y="56388"/>
                </a:lnTo>
                <a:lnTo>
                  <a:pt x="39206" y="62400"/>
                </a:lnTo>
                <a:lnTo>
                  <a:pt x="21336" y="68580"/>
                </a:lnTo>
                <a:close/>
              </a:path>
              <a:path w="680085" h="123825">
                <a:moveTo>
                  <a:pt x="39206" y="62400"/>
                </a:moveTo>
                <a:lnTo>
                  <a:pt x="21336" y="56388"/>
                </a:lnTo>
                <a:lnTo>
                  <a:pt x="56593" y="56388"/>
                </a:lnTo>
                <a:lnTo>
                  <a:pt x="39206" y="62400"/>
                </a:lnTo>
                <a:close/>
              </a:path>
              <a:path w="680085" h="123825">
                <a:moveTo>
                  <a:pt x="658368" y="68580"/>
                </a:moveTo>
                <a:lnTo>
                  <a:pt x="640497" y="62400"/>
                </a:lnTo>
                <a:lnTo>
                  <a:pt x="658368" y="56388"/>
                </a:lnTo>
                <a:lnTo>
                  <a:pt x="658368" y="68580"/>
                </a:lnTo>
                <a:close/>
              </a:path>
              <a:path w="680085" h="123825">
                <a:moveTo>
                  <a:pt x="661568" y="68580"/>
                </a:moveTo>
                <a:lnTo>
                  <a:pt x="658368" y="68580"/>
                </a:lnTo>
                <a:lnTo>
                  <a:pt x="658368" y="56388"/>
                </a:lnTo>
                <a:lnTo>
                  <a:pt x="662010" y="56388"/>
                </a:lnTo>
                <a:lnTo>
                  <a:pt x="679704" y="62484"/>
                </a:lnTo>
                <a:lnTo>
                  <a:pt x="661568" y="68580"/>
                </a:lnTo>
                <a:close/>
              </a:path>
              <a:path w="680085" h="123825">
                <a:moveTo>
                  <a:pt x="57573" y="68580"/>
                </a:moveTo>
                <a:lnTo>
                  <a:pt x="21336" y="68580"/>
                </a:lnTo>
                <a:lnTo>
                  <a:pt x="39206" y="62400"/>
                </a:lnTo>
                <a:lnTo>
                  <a:pt x="57573" y="68580"/>
                </a:lnTo>
                <a:close/>
              </a:path>
              <a:path w="680085" h="123825">
                <a:moveTo>
                  <a:pt x="534619" y="111252"/>
                </a:moveTo>
                <a:lnTo>
                  <a:pt x="495300" y="111252"/>
                </a:lnTo>
                <a:lnTo>
                  <a:pt x="640497" y="62400"/>
                </a:lnTo>
                <a:lnTo>
                  <a:pt x="658368" y="68580"/>
                </a:lnTo>
                <a:lnTo>
                  <a:pt x="661568" y="68580"/>
                </a:lnTo>
                <a:lnTo>
                  <a:pt x="534619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4" name="object 124"/>
          <p:cNvSpPr/>
          <p:nvPr/>
        </p:nvSpPr>
        <p:spPr>
          <a:xfrm>
            <a:off x="6364941" y="3835101"/>
            <a:ext cx="564776" cy="98612"/>
          </a:xfrm>
          <a:custGeom>
            <a:avLst/>
            <a:gdLst/>
            <a:ahLst/>
            <a:cxnLst/>
            <a:rect l="l" t="t" r="r" b="b"/>
            <a:pathLst>
              <a:path w="640079" h="111760">
                <a:moveTo>
                  <a:pt x="478536" y="111252"/>
                </a:moveTo>
                <a:lnTo>
                  <a:pt x="163068" y="111252"/>
                </a:lnTo>
                <a:lnTo>
                  <a:pt x="0" y="56388"/>
                </a:lnTo>
                <a:lnTo>
                  <a:pt x="163068" y="0"/>
                </a:lnTo>
                <a:lnTo>
                  <a:pt x="478536" y="0"/>
                </a:lnTo>
                <a:lnTo>
                  <a:pt x="640080" y="56388"/>
                </a:lnTo>
                <a:lnTo>
                  <a:pt x="478536" y="111252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5" name="object 125"/>
          <p:cNvSpPr/>
          <p:nvPr/>
        </p:nvSpPr>
        <p:spPr>
          <a:xfrm>
            <a:off x="6347460" y="3829723"/>
            <a:ext cx="600075" cy="109257"/>
          </a:xfrm>
          <a:custGeom>
            <a:avLst/>
            <a:gdLst/>
            <a:ahLst/>
            <a:cxnLst/>
            <a:rect l="l" t="t" r="r" b="b"/>
            <a:pathLst>
              <a:path w="680085" h="123825">
                <a:moveTo>
                  <a:pt x="498348" y="123444"/>
                </a:moveTo>
                <a:lnTo>
                  <a:pt x="181356" y="123444"/>
                </a:lnTo>
                <a:lnTo>
                  <a:pt x="0" y="62484"/>
                </a:lnTo>
                <a:lnTo>
                  <a:pt x="181356" y="0"/>
                </a:lnTo>
                <a:lnTo>
                  <a:pt x="498348" y="0"/>
                </a:lnTo>
                <a:lnTo>
                  <a:pt x="533734" y="12192"/>
                </a:lnTo>
                <a:lnTo>
                  <a:pt x="184404" y="12192"/>
                </a:lnTo>
                <a:lnTo>
                  <a:pt x="56593" y="56388"/>
                </a:lnTo>
                <a:lnTo>
                  <a:pt x="21336" y="56388"/>
                </a:lnTo>
                <a:lnTo>
                  <a:pt x="21336" y="68580"/>
                </a:lnTo>
                <a:lnTo>
                  <a:pt x="57573" y="68580"/>
                </a:lnTo>
                <a:lnTo>
                  <a:pt x="184404" y="111252"/>
                </a:lnTo>
                <a:lnTo>
                  <a:pt x="534619" y="111252"/>
                </a:lnTo>
                <a:lnTo>
                  <a:pt x="498348" y="123444"/>
                </a:lnTo>
                <a:close/>
              </a:path>
              <a:path w="680085" h="123825">
                <a:moveTo>
                  <a:pt x="498348" y="13716"/>
                </a:moveTo>
                <a:lnTo>
                  <a:pt x="182880" y="13716"/>
                </a:lnTo>
                <a:lnTo>
                  <a:pt x="184404" y="12192"/>
                </a:lnTo>
                <a:lnTo>
                  <a:pt x="495300" y="12192"/>
                </a:lnTo>
                <a:lnTo>
                  <a:pt x="498348" y="13716"/>
                </a:lnTo>
                <a:close/>
              </a:path>
              <a:path w="680085" h="123825">
                <a:moveTo>
                  <a:pt x="640497" y="62400"/>
                </a:moveTo>
                <a:lnTo>
                  <a:pt x="495300" y="12192"/>
                </a:lnTo>
                <a:lnTo>
                  <a:pt x="533734" y="12192"/>
                </a:lnTo>
                <a:lnTo>
                  <a:pt x="662010" y="56388"/>
                </a:lnTo>
                <a:lnTo>
                  <a:pt x="658368" y="56388"/>
                </a:lnTo>
                <a:lnTo>
                  <a:pt x="640497" y="62400"/>
                </a:lnTo>
                <a:close/>
              </a:path>
              <a:path w="680085" h="123825">
                <a:moveTo>
                  <a:pt x="21336" y="68580"/>
                </a:moveTo>
                <a:lnTo>
                  <a:pt x="21336" y="56388"/>
                </a:lnTo>
                <a:lnTo>
                  <a:pt x="39206" y="62400"/>
                </a:lnTo>
                <a:lnTo>
                  <a:pt x="21336" y="68580"/>
                </a:lnTo>
                <a:close/>
              </a:path>
              <a:path w="680085" h="123825">
                <a:moveTo>
                  <a:pt x="39206" y="62400"/>
                </a:moveTo>
                <a:lnTo>
                  <a:pt x="21336" y="56388"/>
                </a:lnTo>
                <a:lnTo>
                  <a:pt x="56593" y="56388"/>
                </a:lnTo>
                <a:lnTo>
                  <a:pt x="39206" y="62400"/>
                </a:lnTo>
                <a:close/>
              </a:path>
              <a:path w="680085" h="123825">
                <a:moveTo>
                  <a:pt x="658368" y="68580"/>
                </a:moveTo>
                <a:lnTo>
                  <a:pt x="640497" y="62400"/>
                </a:lnTo>
                <a:lnTo>
                  <a:pt x="658368" y="56388"/>
                </a:lnTo>
                <a:lnTo>
                  <a:pt x="658368" y="68580"/>
                </a:lnTo>
                <a:close/>
              </a:path>
              <a:path w="680085" h="123825">
                <a:moveTo>
                  <a:pt x="661568" y="68580"/>
                </a:moveTo>
                <a:lnTo>
                  <a:pt x="658368" y="68580"/>
                </a:lnTo>
                <a:lnTo>
                  <a:pt x="658368" y="56388"/>
                </a:lnTo>
                <a:lnTo>
                  <a:pt x="662010" y="56388"/>
                </a:lnTo>
                <a:lnTo>
                  <a:pt x="679704" y="62484"/>
                </a:lnTo>
                <a:lnTo>
                  <a:pt x="661568" y="68580"/>
                </a:lnTo>
                <a:close/>
              </a:path>
              <a:path w="680085" h="123825">
                <a:moveTo>
                  <a:pt x="57573" y="68580"/>
                </a:moveTo>
                <a:lnTo>
                  <a:pt x="21336" y="68580"/>
                </a:lnTo>
                <a:lnTo>
                  <a:pt x="39206" y="62400"/>
                </a:lnTo>
                <a:lnTo>
                  <a:pt x="57573" y="68580"/>
                </a:lnTo>
                <a:close/>
              </a:path>
              <a:path w="680085" h="123825">
                <a:moveTo>
                  <a:pt x="534619" y="111252"/>
                </a:moveTo>
                <a:lnTo>
                  <a:pt x="495300" y="111252"/>
                </a:lnTo>
                <a:lnTo>
                  <a:pt x="640497" y="62400"/>
                </a:lnTo>
                <a:lnTo>
                  <a:pt x="658368" y="68580"/>
                </a:lnTo>
                <a:lnTo>
                  <a:pt x="661568" y="68580"/>
                </a:lnTo>
                <a:lnTo>
                  <a:pt x="534619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6" name="object 126"/>
          <p:cNvSpPr/>
          <p:nvPr/>
        </p:nvSpPr>
        <p:spPr>
          <a:xfrm>
            <a:off x="6364941" y="3941333"/>
            <a:ext cx="564776" cy="98612"/>
          </a:xfrm>
          <a:custGeom>
            <a:avLst/>
            <a:gdLst/>
            <a:ahLst/>
            <a:cxnLst/>
            <a:rect l="l" t="t" r="r" b="b"/>
            <a:pathLst>
              <a:path w="640079" h="111760">
                <a:moveTo>
                  <a:pt x="478536" y="111252"/>
                </a:moveTo>
                <a:lnTo>
                  <a:pt x="163068" y="111252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0080" y="54864"/>
                </a:lnTo>
                <a:lnTo>
                  <a:pt x="478536" y="111252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7" name="object 127"/>
          <p:cNvSpPr/>
          <p:nvPr/>
        </p:nvSpPr>
        <p:spPr>
          <a:xfrm>
            <a:off x="6347460" y="3935954"/>
            <a:ext cx="600075" cy="109257"/>
          </a:xfrm>
          <a:custGeom>
            <a:avLst/>
            <a:gdLst/>
            <a:ahLst/>
            <a:cxnLst/>
            <a:rect l="l" t="t" r="r" b="b"/>
            <a:pathLst>
              <a:path w="680085" h="123825">
                <a:moveTo>
                  <a:pt x="498348" y="123444"/>
                </a:moveTo>
                <a:lnTo>
                  <a:pt x="181356" y="123444"/>
                </a:lnTo>
                <a:lnTo>
                  <a:pt x="0" y="60960"/>
                </a:lnTo>
                <a:lnTo>
                  <a:pt x="181356" y="0"/>
                </a:lnTo>
                <a:lnTo>
                  <a:pt x="498348" y="0"/>
                </a:lnTo>
                <a:lnTo>
                  <a:pt x="534619" y="12192"/>
                </a:lnTo>
                <a:lnTo>
                  <a:pt x="184404" y="12192"/>
                </a:lnTo>
                <a:lnTo>
                  <a:pt x="57573" y="54864"/>
                </a:lnTo>
                <a:lnTo>
                  <a:pt x="21336" y="54864"/>
                </a:lnTo>
                <a:lnTo>
                  <a:pt x="21336" y="67056"/>
                </a:lnTo>
                <a:lnTo>
                  <a:pt x="56593" y="67056"/>
                </a:lnTo>
                <a:lnTo>
                  <a:pt x="184404" y="111252"/>
                </a:lnTo>
                <a:lnTo>
                  <a:pt x="533734" y="111252"/>
                </a:lnTo>
                <a:lnTo>
                  <a:pt x="498348" y="123444"/>
                </a:lnTo>
                <a:close/>
              </a:path>
              <a:path w="680085" h="123825">
                <a:moveTo>
                  <a:pt x="640497" y="61043"/>
                </a:moveTo>
                <a:lnTo>
                  <a:pt x="495300" y="12192"/>
                </a:lnTo>
                <a:lnTo>
                  <a:pt x="534619" y="12192"/>
                </a:lnTo>
                <a:lnTo>
                  <a:pt x="661568" y="54864"/>
                </a:lnTo>
                <a:lnTo>
                  <a:pt x="658368" y="54864"/>
                </a:lnTo>
                <a:lnTo>
                  <a:pt x="640497" y="61043"/>
                </a:lnTo>
                <a:close/>
              </a:path>
              <a:path w="680085" h="123825">
                <a:moveTo>
                  <a:pt x="21336" y="67056"/>
                </a:moveTo>
                <a:lnTo>
                  <a:pt x="21336" y="54864"/>
                </a:lnTo>
                <a:lnTo>
                  <a:pt x="39206" y="61043"/>
                </a:lnTo>
                <a:lnTo>
                  <a:pt x="21336" y="67056"/>
                </a:lnTo>
                <a:close/>
              </a:path>
              <a:path w="680085" h="123825">
                <a:moveTo>
                  <a:pt x="39206" y="61043"/>
                </a:moveTo>
                <a:lnTo>
                  <a:pt x="21336" y="54864"/>
                </a:lnTo>
                <a:lnTo>
                  <a:pt x="57573" y="54864"/>
                </a:lnTo>
                <a:lnTo>
                  <a:pt x="39206" y="61043"/>
                </a:lnTo>
                <a:close/>
              </a:path>
              <a:path w="680085" h="123825">
                <a:moveTo>
                  <a:pt x="658368" y="67056"/>
                </a:moveTo>
                <a:lnTo>
                  <a:pt x="640497" y="61043"/>
                </a:lnTo>
                <a:lnTo>
                  <a:pt x="658368" y="54864"/>
                </a:lnTo>
                <a:lnTo>
                  <a:pt x="658368" y="67056"/>
                </a:lnTo>
                <a:close/>
              </a:path>
              <a:path w="680085" h="123825">
                <a:moveTo>
                  <a:pt x="662010" y="67056"/>
                </a:moveTo>
                <a:lnTo>
                  <a:pt x="658368" y="67056"/>
                </a:lnTo>
                <a:lnTo>
                  <a:pt x="658368" y="54864"/>
                </a:lnTo>
                <a:lnTo>
                  <a:pt x="661568" y="54864"/>
                </a:lnTo>
                <a:lnTo>
                  <a:pt x="679704" y="60960"/>
                </a:lnTo>
                <a:lnTo>
                  <a:pt x="662010" y="67056"/>
                </a:lnTo>
                <a:close/>
              </a:path>
              <a:path w="680085" h="123825">
                <a:moveTo>
                  <a:pt x="56593" y="67056"/>
                </a:moveTo>
                <a:lnTo>
                  <a:pt x="21336" y="67056"/>
                </a:lnTo>
                <a:lnTo>
                  <a:pt x="39206" y="61043"/>
                </a:lnTo>
                <a:lnTo>
                  <a:pt x="56593" y="67056"/>
                </a:lnTo>
                <a:close/>
              </a:path>
              <a:path w="680085" h="123825">
                <a:moveTo>
                  <a:pt x="533734" y="111252"/>
                </a:moveTo>
                <a:lnTo>
                  <a:pt x="495300" y="111252"/>
                </a:lnTo>
                <a:lnTo>
                  <a:pt x="640497" y="61043"/>
                </a:lnTo>
                <a:lnTo>
                  <a:pt x="658368" y="67056"/>
                </a:lnTo>
                <a:lnTo>
                  <a:pt x="662010" y="67056"/>
                </a:lnTo>
                <a:lnTo>
                  <a:pt x="533734" y="111252"/>
                </a:lnTo>
                <a:close/>
              </a:path>
              <a:path w="680085" h="123825">
                <a:moveTo>
                  <a:pt x="495300" y="111252"/>
                </a:moveTo>
                <a:lnTo>
                  <a:pt x="184404" y="111252"/>
                </a:lnTo>
                <a:lnTo>
                  <a:pt x="182880" y="109728"/>
                </a:lnTo>
                <a:lnTo>
                  <a:pt x="498348" y="109728"/>
                </a:lnTo>
                <a:lnTo>
                  <a:pt x="495300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8" name="object 128"/>
          <p:cNvSpPr/>
          <p:nvPr/>
        </p:nvSpPr>
        <p:spPr>
          <a:xfrm>
            <a:off x="7200004" y="3623983"/>
            <a:ext cx="566457" cy="96931"/>
          </a:xfrm>
          <a:custGeom>
            <a:avLst/>
            <a:gdLst/>
            <a:ahLst/>
            <a:cxnLst/>
            <a:rect l="l" t="t" r="r" b="b"/>
            <a:pathLst>
              <a:path w="641984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9" name="object 129"/>
          <p:cNvSpPr/>
          <p:nvPr/>
        </p:nvSpPr>
        <p:spPr>
          <a:xfrm>
            <a:off x="7182522" y="3618604"/>
            <a:ext cx="601196" cy="107576"/>
          </a:xfrm>
          <a:custGeom>
            <a:avLst/>
            <a:gdLst/>
            <a:ahLst/>
            <a:cxnLst/>
            <a:rect l="l" t="t" r="r" b="b"/>
            <a:pathLst>
              <a:path w="681354" h="121920">
                <a:moveTo>
                  <a:pt x="499872" y="121920"/>
                </a:moveTo>
                <a:lnTo>
                  <a:pt x="181356" y="121920"/>
                </a:lnTo>
                <a:lnTo>
                  <a:pt x="0" y="60960"/>
                </a:lnTo>
                <a:lnTo>
                  <a:pt x="181356" y="0"/>
                </a:lnTo>
                <a:lnTo>
                  <a:pt x="499872" y="0"/>
                </a:lnTo>
                <a:lnTo>
                  <a:pt x="536143" y="12192"/>
                </a:lnTo>
                <a:lnTo>
                  <a:pt x="184404" y="12192"/>
                </a:lnTo>
                <a:lnTo>
                  <a:pt x="57573" y="54864"/>
                </a:lnTo>
                <a:lnTo>
                  <a:pt x="21336" y="54864"/>
                </a:lnTo>
                <a:lnTo>
                  <a:pt x="21336" y="67056"/>
                </a:lnTo>
                <a:lnTo>
                  <a:pt x="57573" y="67056"/>
                </a:lnTo>
                <a:lnTo>
                  <a:pt x="184404" y="109728"/>
                </a:lnTo>
                <a:lnTo>
                  <a:pt x="536143" y="109728"/>
                </a:lnTo>
                <a:lnTo>
                  <a:pt x="499872" y="121920"/>
                </a:lnTo>
                <a:close/>
              </a:path>
              <a:path w="681354" h="121920">
                <a:moveTo>
                  <a:pt x="640418" y="60960"/>
                </a:moveTo>
                <a:lnTo>
                  <a:pt x="496824" y="12192"/>
                </a:lnTo>
                <a:lnTo>
                  <a:pt x="536143" y="12192"/>
                </a:lnTo>
                <a:lnTo>
                  <a:pt x="663092" y="54864"/>
                </a:lnTo>
                <a:lnTo>
                  <a:pt x="658368" y="54864"/>
                </a:lnTo>
                <a:lnTo>
                  <a:pt x="640418" y="60960"/>
                </a:lnTo>
                <a:close/>
              </a:path>
              <a:path w="681354" h="121920">
                <a:moveTo>
                  <a:pt x="21336" y="67056"/>
                </a:moveTo>
                <a:lnTo>
                  <a:pt x="21336" y="54864"/>
                </a:lnTo>
                <a:lnTo>
                  <a:pt x="39454" y="60960"/>
                </a:lnTo>
                <a:lnTo>
                  <a:pt x="21336" y="67056"/>
                </a:lnTo>
                <a:close/>
              </a:path>
              <a:path w="681354" h="121920">
                <a:moveTo>
                  <a:pt x="39454" y="60960"/>
                </a:moveTo>
                <a:lnTo>
                  <a:pt x="21336" y="54864"/>
                </a:lnTo>
                <a:lnTo>
                  <a:pt x="57573" y="54864"/>
                </a:lnTo>
                <a:lnTo>
                  <a:pt x="39454" y="60960"/>
                </a:lnTo>
                <a:close/>
              </a:path>
              <a:path w="681354" h="121920">
                <a:moveTo>
                  <a:pt x="658368" y="67056"/>
                </a:moveTo>
                <a:lnTo>
                  <a:pt x="640418" y="60960"/>
                </a:lnTo>
                <a:lnTo>
                  <a:pt x="658368" y="54864"/>
                </a:lnTo>
                <a:lnTo>
                  <a:pt x="658368" y="67056"/>
                </a:lnTo>
                <a:close/>
              </a:path>
              <a:path w="681354" h="121920">
                <a:moveTo>
                  <a:pt x="663092" y="67056"/>
                </a:moveTo>
                <a:lnTo>
                  <a:pt x="658368" y="67056"/>
                </a:lnTo>
                <a:lnTo>
                  <a:pt x="658368" y="54864"/>
                </a:lnTo>
                <a:lnTo>
                  <a:pt x="663092" y="54864"/>
                </a:lnTo>
                <a:lnTo>
                  <a:pt x="681228" y="60960"/>
                </a:lnTo>
                <a:lnTo>
                  <a:pt x="663092" y="67056"/>
                </a:lnTo>
                <a:close/>
              </a:path>
              <a:path w="681354" h="121920">
                <a:moveTo>
                  <a:pt x="57573" y="67056"/>
                </a:moveTo>
                <a:lnTo>
                  <a:pt x="21336" y="67056"/>
                </a:lnTo>
                <a:lnTo>
                  <a:pt x="39454" y="60960"/>
                </a:lnTo>
                <a:lnTo>
                  <a:pt x="57573" y="67056"/>
                </a:lnTo>
                <a:close/>
              </a:path>
              <a:path w="681354" h="121920">
                <a:moveTo>
                  <a:pt x="536143" y="109728"/>
                </a:moveTo>
                <a:lnTo>
                  <a:pt x="496824" y="109728"/>
                </a:lnTo>
                <a:lnTo>
                  <a:pt x="640418" y="60960"/>
                </a:lnTo>
                <a:lnTo>
                  <a:pt x="658368" y="67056"/>
                </a:lnTo>
                <a:lnTo>
                  <a:pt x="663092" y="67056"/>
                </a:lnTo>
                <a:lnTo>
                  <a:pt x="536143" y="1097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0" name="object 130"/>
          <p:cNvSpPr/>
          <p:nvPr/>
        </p:nvSpPr>
        <p:spPr>
          <a:xfrm>
            <a:off x="6781801" y="3676426"/>
            <a:ext cx="566457" cy="96931"/>
          </a:xfrm>
          <a:custGeom>
            <a:avLst/>
            <a:gdLst/>
            <a:ahLst/>
            <a:cxnLst/>
            <a:rect l="l" t="t" r="r" b="b"/>
            <a:pathLst>
              <a:path w="641985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1" name="object 131"/>
          <p:cNvSpPr/>
          <p:nvPr/>
        </p:nvSpPr>
        <p:spPr>
          <a:xfrm>
            <a:off x="6764319" y="3671048"/>
            <a:ext cx="601196" cy="109257"/>
          </a:xfrm>
          <a:custGeom>
            <a:avLst/>
            <a:gdLst/>
            <a:ahLst/>
            <a:cxnLst/>
            <a:rect l="l" t="t" r="r" b="b"/>
            <a:pathLst>
              <a:path w="681354" h="123825">
                <a:moveTo>
                  <a:pt x="499872" y="123444"/>
                </a:moveTo>
                <a:lnTo>
                  <a:pt x="182880" y="123444"/>
                </a:lnTo>
                <a:lnTo>
                  <a:pt x="0" y="60960"/>
                </a:lnTo>
                <a:lnTo>
                  <a:pt x="182880" y="0"/>
                </a:lnTo>
                <a:lnTo>
                  <a:pt x="499872" y="0"/>
                </a:lnTo>
                <a:lnTo>
                  <a:pt x="536143" y="12192"/>
                </a:lnTo>
                <a:lnTo>
                  <a:pt x="185928" y="12192"/>
                </a:lnTo>
                <a:lnTo>
                  <a:pt x="59097" y="54864"/>
                </a:lnTo>
                <a:lnTo>
                  <a:pt x="22860" y="54864"/>
                </a:lnTo>
                <a:lnTo>
                  <a:pt x="22860" y="67056"/>
                </a:lnTo>
                <a:lnTo>
                  <a:pt x="59097" y="67056"/>
                </a:lnTo>
                <a:lnTo>
                  <a:pt x="185928" y="109728"/>
                </a:lnTo>
                <a:lnTo>
                  <a:pt x="539681" y="109728"/>
                </a:lnTo>
                <a:lnTo>
                  <a:pt x="499872" y="123444"/>
                </a:lnTo>
                <a:close/>
              </a:path>
              <a:path w="681354" h="123825">
                <a:moveTo>
                  <a:pt x="641773" y="60960"/>
                </a:moveTo>
                <a:lnTo>
                  <a:pt x="496824" y="12192"/>
                </a:lnTo>
                <a:lnTo>
                  <a:pt x="536143" y="12192"/>
                </a:lnTo>
                <a:lnTo>
                  <a:pt x="663092" y="54864"/>
                </a:lnTo>
                <a:lnTo>
                  <a:pt x="659892" y="54864"/>
                </a:lnTo>
                <a:lnTo>
                  <a:pt x="641773" y="60960"/>
                </a:lnTo>
                <a:close/>
              </a:path>
              <a:path w="681354" h="123825">
                <a:moveTo>
                  <a:pt x="22860" y="67056"/>
                </a:moveTo>
                <a:lnTo>
                  <a:pt x="22860" y="54864"/>
                </a:lnTo>
                <a:lnTo>
                  <a:pt x="40978" y="60960"/>
                </a:lnTo>
                <a:lnTo>
                  <a:pt x="22860" y="67056"/>
                </a:lnTo>
                <a:close/>
              </a:path>
              <a:path w="681354" h="123825">
                <a:moveTo>
                  <a:pt x="40978" y="60960"/>
                </a:moveTo>
                <a:lnTo>
                  <a:pt x="22860" y="54864"/>
                </a:lnTo>
                <a:lnTo>
                  <a:pt x="59097" y="54864"/>
                </a:lnTo>
                <a:lnTo>
                  <a:pt x="40978" y="60960"/>
                </a:lnTo>
                <a:close/>
              </a:path>
              <a:path w="681354" h="123825">
                <a:moveTo>
                  <a:pt x="659892" y="67056"/>
                </a:moveTo>
                <a:lnTo>
                  <a:pt x="641773" y="60960"/>
                </a:lnTo>
                <a:lnTo>
                  <a:pt x="659892" y="54864"/>
                </a:lnTo>
                <a:lnTo>
                  <a:pt x="659892" y="67056"/>
                </a:lnTo>
                <a:close/>
              </a:path>
              <a:path w="681354" h="123825">
                <a:moveTo>
                  <a:pt x="663534" y="67056"/>
                </a:moveTo>
                <a:lnTo>
                  <a:pt x="659892" y="67056"/>
                </a:lnTo>
                <a:lnTo>
                  <a:pt x="659892" y="54864"/>
                </a:lnTo>
                <a:lnTo>
                  <a:pt x="663092" y="54864"/>
                </a:lnTo>
                <a:lnTo>
                  <a:pt x="681228" y="60960"/>
                </a:lnTo>
                <a:lnTo>
                  <a:pt x="663534" y="67056"/>
                </a:lnTo>
                <a:close/>
              </a:path>
              <a:path w="681354" h="123825">
                <a:moveTo>
                  <a:pt x="59097" y="67056"/>
                </a:moveTo>
                <a:lnTo>
                  <a:pt x="22860" y="67056"/>
                </a:lnTo>
                <a:lnTo>
                  <a:pt x="40978" y="60960"/>
                </a:lnTo>
                <a:lnTo>
                  <a:pt x="59097" y="67056"/>
                </a:lnTo>
                <a:close/>
              </a:path>
              <a:path w="681354" h="123825">
                <a:moveTo>
                  <a:pt x="539681" y="109728"/>
                </a:moveTo>
                <a:lnTo>
                  <a:pt x="496824" y="109728"/>
                </a:lnTo>
                <a:lnTo>
                  <a:pt x="641773" y="60960"/>
                </a:lnTo>
                <a:lnTo>
                  <a:pt x="659892" y="67056"/>
                </a:lnTo>
                <a:lnTo>
                  <a:pt x="663534" y="67056"/>
                </a:lnTo>
                <a:lnTo>
                  <a:pt x="539681" y="1097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2" name="object 132"/>
          <p:cNvSpPr/>
          <p:nvPr/>
        </p:nvSpPr>
        <p:spPr>
          <a:xfrm>
            <a:off x="6781801" y="3888890"/>
            <a:ext cx="566457" cy="96931"/>
          </a:xfrm>
          <a:custGeom>
            <a:avLst/>
            <a:gdLst/>
            <a:ahLst/>
            <a:cxnLst/>
            <a:rect l="l" t="t" r="r" b="b"/>
            <a:pathLst>
              <a:path w="641985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3" name="object 133"/>
          <p:cNvSpPr/>
          <p:nvPr/>
        </p:nvSpPr>
        <p:spPr>
          <a:xfrm>
            <a:off x="6764319" y="3883510"/>
            <a:ext cx="601196" cy="107576"/>
          </a:xfrm>
          <a:custGeom>
            <a:avLst/>
            <a:gdLst/>
            <a:ahLst/>
            <a:cxnLst/>
            <a:rect l="l" t="t" r="r" b="b"/>
            <a:pathLst>
              <a:path w="681354" h="121920">
                <a:moveTo>
                  <a:pt x="499872" y="121920"/>
                </a:moveTo>
                <a:lnTo>
                  <a:pt x="182880" y="121920"/>
                </a:lnTo>
                <a:lnTo>
                  <a:pt x="0" y="60960"/>
                </a:lnTo>
                <a:lnTo>
                  <a:pt x="182880" y="0"/>
                </a:lnTo>
                <a:lnTo>
                  <a:pt x="499872" y="0"/>
                </a:lnTo>
                <a:lnTo>
                  <a:pt x="536143" y="12192"/>
                </a:lnTo>
                <a:lnTo>
                  <a:pt x="185928" y="12192"/>
                </a:lnTo>
                <a:lnTo>
                  <a:pt x="59097" y="54864"/>
                </a:lnTo>
                <a:lnTo>
                  <a:pt x="22860" y="54864"/>
                </a:lnTo>
                <a:lnTo>
                  <a:pt x="22860" y="67056"/>
                </a:lnTo>
                <a:lnTo>
                  <a:pt x="59097" y="67056"/>
                </a:lnTo>
                <a:lnTo>
                  <a:pt x="185928" y="109728"/>
                </a:lnTo>
                <a:lnTo>
                  <a:pt x="536143" y="109728"/>
                </a:lnTo>
                <a:lnTo>
                  <a:pt x="499872" y="121920"/>
                </a:lnTo>
                <a:close/>
              </a:path>
              <a:path w="681354" h="121920">
                <a:moveTo>
                  <a:pt x="641773" y="60960"/>
                </a:moveTo>
                <a:lnTo>
                  <a:pt x="496824" y="12192"/>
                </a:lnTo>
                <a:lnTo>
                  <a:pt x="536143" y="12192"/>
                </a:lnTo>
                <a:lnTo>
                  <a:pt x="663092" y="54864"/>
                </a:lnTo>
                <a:lnTo>
                  <a:pt x="659892" y="54864"/>
                </a:lnTo>
                <a:lnTo>
                  <a:pt x="641773" y="60960"/>
                </a:lnTo>
                <a:close/>
              </a:path>
              <a:path w="681354" h="121920">
                <a:moveTo>
                  <a:pt x="22860" y="67056"/>
                </a:moveTo>
                <a:lnTo>
                  <a:pt x="22860" y="54864"/>
                </a:lnTo>
                <a:lnTo>
                  <a:pt x="40978" y="60960"/>
                </a:lnTo>
                <a:lnTo>
                  <a:pt x="22860" y="67056"/>
                </a:lnTo>
                <a:close/>
              </a:path>
              <a:path w="681354" h="121920">
                <a:moveTo>
                  <a:pt x="40978" y="60960"/>
                </a:moveTo>
                <a:lnTo>
                  <a:pt x="22860" y="54864"/>
                </a:lnTo>
                <a:lnTo>
                  <a:pt x="59097" y="54864"/>
                </a:lnTo>
                <a:lnTo>
                  <a:pt x="40978" y="60960"/>
                </a:lnTo>
                <a:close/>
              </a:path>
              <a:path w="681354" h="121920">
                <a:moveTo>
                  <a:pt x="659892" y="67056"/>
                </a:moveTo>
                <a:lnTo>
                  <a:pt x="641773" y="60960"/>
                </a:lnTo>
                <a:lnTo>
                  <a:pt x="659892" y="54864"/>
                </a:lnTo>
                <a:lnTo>
                  <a:pt x="659892" y="67056"/>
                </a:lnTo>
                <a:close/>
              </a:path>
              <a:path w="681354" h="121920">
                <a:moveTo>
                  <a:pt x="663092" y="67056"/>
                </a:moveTo>
                <a:lnTo>
                  <a:pt x="659892" y="67056"/>
                </a:lnTo>
                <a:lnTo>
                  <a:pt x="659892" y="54864"/>
                </a:lnTo>
                <a:lnTo>
                  <a:pt x="663092" y="54864"/>
                </a:lnTo>
                <a:lnTo>
                  <a:pt x="681228" y="60960"/>
                </a:lnTo>
                <a:lnTo>
                  <a:pt x="663092" y="67056"/>
                </a:lnTo>
                <a:close/>
              </a:path>
              <a:path w="681354" h="121920">
                <a:moveTo>
                  <a:pt x="59097" y="67056"/>
                </a:moveTo>
                <a:lnTo>
                  <a:pt x="22860" y="67056"/>
                </a:lnTo>
                <a:lnTo>
                  <a:pt x="40978" y="60960"/>
                </a:lnTo>
                <a:lnTo>
                  <a:pt x="59097" y="67056"/>
                </a:lnTo>
                <a:close/>
              </a:path>
              <a:path w="681354" h="121920">
                <a:moveTo>
                  <a:pt x="536143" y="109728"/>
                </a:moveTo>
                <a:lnTo>
                  <a:pt x="496824" y="109728"/>
                </a:lnTo>
                <a:lnTo>
                  <a:pt x="641773" y="60960"/>
                </a:lnTo>
                <a:lnTo>
                  <a:pt x="659892" y="67056"/>
                </a:lnTo>
                <a:lnTo>
                  <a:pt x="663092" y="67056"/>
                </a:lnTo>
                <a:lnTo>
                  <a:pt x="536143" y="1097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4" name="object 134"/>
          <p:cNvSpPr/>
          <p:nvPr/>
        </p:nvSpPr>
        <p:spPr>
          <a:xfrm>
            <a:off x="6781801" y="3995122"/>
            <a:ext cx="566457" cy="96931"/>
          </a:xfrm>
          <a:custGeom>
            <a:avLst/>
            <a:gdLst/>
            <a:ahLst/>
            <a:cxnLst/>
            <a:rect l="l" t="t" r="r" b="b"/>
            <a:pathLst>
              <a:path w="641985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5" name="object 135"/>
          <p:cNvSpPr/>
          <p:nvPr/>
        </p:nvSpPr>
        <p:spPr>
          <a:xfrm>
            <a:off x="6764319" y="3989743"/>
            <a:ext cx="601196" cy="107576"/>
          </a:xfrm>
          <a:custGeom>
            <a:avLst/>
            <a:gdLst/>
            <a:ahLst/>
            <a:cxnLst/>
            <a:rect l="l" t="t" r="r" b="b"/>
            <a:pathLst>
              <a:path w="681354" h="121920">
                <a:moveTo>
                  <a:pt x="499872" y="121920"/>
                </a:moveTo>
                <a:lnTo>
                  <a:pt x="182880" y="121920"/>
                </a:lnTo>
                <a:lnTo>
                  <a:pt x="0" y="60960"/>
                </a:lnTo>
                <a:lnTo>
                  <a:pt x="182880" y="0"/>
                </a:lnTo>
                <a:lnTo>
                  <a:pt x="499872" y="0"/>
                </a:lnTo>
                <a:lnTo>
                  <a:pt x="536143" y="12192"/>
                </a:lnTo>
                <a:lnTo>
                  <a:pt x="185928" y="12192"/>
                </a:lnTo>
                <a:lnTo>
                  <a:pt x="59097" y="54864"/>
                </a:lnTo>
                <a:lnTo>
                  <a:pt x="22860" y="54864"/>
                </a:lnTo>
                <a:lnTo>
                  <a:pt x="22860" y="67056"/>
                </a:lnTo>
                <a:lnTo>
                  <a:pt x="59097" y="67056"/>
                </a:lnTo>
                <a:lnTo>
                  <a:pt x="185928" y="109728"/>
                </a:lnTo>
                <a:lnTo>
                  <a:pt x="536143" y="109728"/>
                </a:lnTo>
                <a:lnTo>
                  <a:pt x="499872" y="121920"/>
                </a:lnTo>
                <a:close/>
              </a:path>
              <a:path w="681354" h="121920">
                <a:moveTo>
                  <a:pt x="641773" y="60960"/>
                </a:moveTo>
                <a:lnTo>
                  <a:pt x="496824" y="12192"/>
                </a:lnTo>
                <a:lnTo>
                  <a:pt x="536143" y="12192"/>
                </a:lnTo>
                <a:lnTo>
                  <a:pt x="663092" y="54864"/>
                </a:lnTo>
                <a:lnTo>
                  <a:pt x="659892" y="54864"/>
                </a:lnTo>
                <a:lnTo>
                  <a:pt x="641773" y="60960"/>
                </a:lnTo>
                <a:close/>
              </a:path>
              <a:path w="681354" h="121920">
                <a:moveTo>
                  <a:pt x="22860" y="67056"/>
                </a:moveTo>
                <a:lnTo>
                  <a:pt x="22860" y="54864"/>
                </a:lnTo>
                <a:lnTo>
                  <a:pt x="40978" y="60960"/>
                </a:lnTo>
                <a:lnTo>
                  <a:pt x="22860" y="67056"/>
                </a:lnTo>
                <a:close/>
              </a:path>
              <a:path w="681354" h="121920">
                <a:moveTo>
                  <a:pt x="40978" y="60960"/>
                </a:moveTo>
                <a:lnTo>
                  <a:pt x="22860" y="54864"/>
                </a:lnTo>
                <a:lnTo>
                  <a:pt x="59097" y="54864"/>
                </a:lnTo>
                <a:lnTo>
                  <a:pt x="40978" y="60960"/>
                </a:lnTo>
                <a:close/>
              </a:path>
              <a:path w="681354" h="121920">
                <a:moveTo>
                  <a:pt x="659892" y="67056"/>
                </a:moveTo>
                <a:lnTo>
                  <a:pt x="641773" y="60960"/>
                </a:lnTo>
                <a:lnTo>
                  <a:pt x="659892" y="54864"/>
                </a:lnTo>
                <a:lnTo>
                  <a:pt x="659892" y="67056"/>
                </a:lnTo>
                <a:close/>
              </a:path>
              <a:path w="681354" h="121920">
                <a:moveTo>
                  <a:pt x="663092" y="67056"/>
                </a:moveTo>
                <a:lnTo>
                  <a:pt x="659892" y="67056"/>
                </a:lnTo>
                <a:lnTo>
                  <a:pt x="659892" y="54864"/>
                </a:lnTo>
                <a:lnTo>
                  <a:pt x="663092" y="54864"/>
                </a:lnTo>
                <a:lnTo>
                  <a:pt x="681228" y="60960"/>
                </a:lnTo>
                <a:lnTo>
                  <a:pt x="663092" y="67056"/>
                </a:lnTo>
                <a:close/>
              </a:path>
              <a:path w="681354" h="121920">
                <a:moveTo>
                  <a:pt x="59097" y="67056"/>
                </a:moveTo>
                <a:lnTo>
                  <a:pt x="22860" y="67056"/>
                </a:lnTo>
                <a:lnTo>
                  <a:pt x="40978" y="60960"/>
                </a:lnTo>
                <a:lnTo>
                  <a:pt x="59097" y="67056"/>
                </a:lnTo>
                <a:close/>
              </a:path>
              <a:path w="681354" h="121920">
                <a:moveTo>
                  <a:pt x="536143" y="109728"/>
                </a:moveTo>
                <a:lnTo>
                  <a:pt x="496824" y="109728"/>
                </a:lnTo>
                <a:lnTo>
                  <a:pt x="641773" y="60960"/>
                </a:lnTo>
                <a:lnTo>
                  <a:pt x="659892" y="67056"/>
                </a:lnTo>
                <a:lnTo>
                  <a:pt x="663092" y="67056"/>
                </a:lnTo>
                <a:lnTo>
                  <a:pt x="536143" y="1097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6" name="object 136"/>
          <p:cNvSpPr/>
          <p:nvPr/>
        </p:nvSpPr>
        <p:spPr>
          <a:xfrm>
            <a:off x="7200004" y="3730215"/>
            <a:ext cx="566457" cy="96931"/>
          </a:xfrm>
          <a:custGeom>
            <a:avLst/>
            <a:gdLst/>
            <a:ahLst/>
            <a:cxnLst/>
            <a:rect l="l" t="t" r="r" b="b"/>
            <a:pathLst>
              <a:path w="641984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7" name="object 137"/>
          <p:cNvSpPr/>
          <p:nvPr/>
        </p:nvSpPr>
        <p:spPr>
          <a:xfrm>
            <a:off x="7182522" y="3723490"/>
            <a:ext cx="601196" cy="109257"/>
          </a:xfrm>
          <a:custGeom>
            <a:avLst/>
            <a:gdLst/>
            <a:ahLst/>
            <a:cxnLst/>
            <a:rect l="l" t="t" r="r" b="b"/>
            <a:pathLst>
              <a:path w="681354" h="123825">
                <a:moveTo>
                  <a:pt x="499872" y="123444"/>
                </a:moveTo>
                <a:lnTo>
                  <a:pt x="181356" y="123444"/>
                </a:lnTo>
                <a:lnTo>
                  <a:pt x="0" y="62484"/>
                </a:lnTo>
                <a:lnTo>
                  <a:pt x="181356" y="0"/>
                </a:lnTo>
                <a:lnTo>
                  <a:pt x="499872" y="0"/>
                </a:lnTo>
                <a:lnTo>
                  <a:pt x="535258" y="12192"/>
                </a:lnTo>
                <a:lnTo>
                  <a:pt x="184404" y="12192"/>
                </a:lnTo>
                <a:lnTo>
                  <a:pt x="56593" y="56388"/>
                </a:lnTo>
                <a:lnTo>
                  <a:pt x="21336" y="56388"/>
                </a:lnTo>
                <a:lnTo>
                  <a:pt x="21336" y="68580"/>
                </a:lnTo>
                <a:lnTo>
                  <a:pt x="57573" y="68580"/>
                </a:lnTo>
                <a:lnTo>
                  <a:pt x="184404" y="111252"/>
                </a:lnTo>
                <a:lnTo>
                  <a:pt x="536143" y="111252"/>
                </a:lnTo>
                <a:lnTo>
                  <a:pt x="499872" y="123444"/>
                </a:lnTo>
                <a:close/>
              </a:path>
              <a:path w="681354" h="123825">
                <a:moveTo>
                  <a:pt x="498348" y="13716"/>
                </a:moveTo>
                <a:lnTo>
                  <a:pt x="182880" y="13716"/>
                </a:lnTo>
                <a:lnTo>
                  <a:pt x="184404" y="12192"/>
                </a:lnTo>
                <a:lnTo>
                  <a:pt x="496824" y="12192"/>
                </a:lnTo>
                <a:lnTo>
                  <a:pt x="498348" y="13716"/>
                </a:lnTo>
                <a:close/>
              </a:path>
              <a:path w="681354" h="123825">
                <a:moveTo>
                  <a:pt x="640664" y="62400"/>
                </a:moveTo>
                <a:lnTo>
                  <a:pt x="496824" y="12192"/>
                </a:lnTo>
                <a:lnTo>
                  <a:pt x="535258" y="12192"/>
                </a:lnTo>
                <a:lnTo>
                  <a:pt x="663534" y="56388"/>
                </a:lnTo>
                <a:lnTo>
                  <a:pt x="658368" y="56388"/>
                </a:lnTo>
                <a:lnTo>
                  <a:pt x="640664" y="62400"/>
                </a:lnTo>
                <a:close/>
              </a:path>
              <a:path w="681354" h="123825">
                <a:moveTo>
                  <a:pt x="21336" y="68580"/>
                </a:moveTo>
                <a:lnTo>
                  <a:pt x="21336" y="56388"/>
                </a:lnTo>
                <a:lnTo>
                  <a:pt x="39206" y="62400"/>
                </a:lnTo>
                <a:lnTo>
                  <a:pt x="21336" y="68580"/>
                </a:lnTo>
                <a:close/>
              </a:path>
              <a:path w="681354" h="123825">
                <a:moveTo>
                  <a:pt x="39206" y="62400"/>
                </a:moveTo>
                <a:lnTo>
                  <a:pt x="21336" y="56388"/>
                </a:lnTo>
                <a:lnTo>
                  <a:pt x="56593" y="56388"/>
                </a:lnTo>
                <a:lnTo>
                  <a:pt x="39206" y="62400"/>
                </a:lnTo>
                <a:close/>
              </a:path>
              <a:path w="681354" h="123825">
                <a:moveTo>
                  <a:pt x="658368" y="68580"/>
                </a:moveTo>
                <a:lnTo>
                  <a:pt x="640664" y="62400"/>
                </a:lnTo>
                <a:lnTo>
                  <a:pt x="658368" y="56388"/>
                </a:lnTo>
                <a:lnTo>
                  <a:pt x="658368" y="68580"/>
                </a:lnTo>
                <a:close/>
              </a:path>
              <a:path w="681354" h="123825">
                <a:moveTo>
                  <a:pt x="663092" y="68580"/>
                </a:moveTo>
                <a:lnTo>
                  <a:pt x="658368" y="68580"/>
                </a:lnTo>
                <a:lnTo>
                  <a:pt x="658368" y="56388"/>
                </a:lnTo>
                <a:lnTo>
                  <a:pt x="663534" y="56388"/>
                </a:lnTo>
                <a:lnTo>
                  <a:pt x="681228" y="62484"/>
                </a:lnTo>
                <a:lnTo>
                  <a:pt x="663092" y="68580"/>
                </a:lnTo>
                <a:close/>
              </a:path>
              <a:path w="681354" h="123825">
                <a:moveTo>
                  <a:pt x="57573" y="68580"/>
                </a:moveTo>
                <a:lnTo>
                  <a:pt x="21336" y="68580"/>
                </a:lnTo>
                <a:lnTo>
                  <a:pt x="39206" y="62400"/>
                </a:lnTo>
                <a:lnTo>
                  <a:pt x="57573" y="68580"/>
                </a:lnTo>
                <a:close/>
              </a:path>
              <a:path w="681354" h="123825">
                <a:moveTo>
                  <a:pt x="536143" y="111252"/>
                </a:moveTo>
                <a:lnTo>
                  <a:pt x="496824" y="111252"/>
                </a:lnTo>
                <a:lnTo>
                  <a:pt x="640664" y="62400"/>
                </a:lnTo>
                <a:lnTo>
                  <a:pt x="658368" y="68580"/>
                </a:lnTo>
                <a:lnTo>
                  <a:pt x="663092" y="68580"/>
                </a:lnTo>
                <a:lnTo>
                  <a:pt x="536143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8" name="object 138"/>
          <p:cNvSpPr/>
          <p:nvPr/>
        </p:nvSpPr>
        <p:spPr>
          <a:xfrm>
            <a:off x="7200004" y="3835101"/>
            <a:ext cx="566457" cy="98612"/>
          </a:xfrm>
          <a:custGeom>
            <a:avLst/>
            <a:gdLst/>
            <a:ahLst/>
            <a:cxnLst/>
            <a:rect l="l" t="t" r="r" b="b"/>
            <a:pathLst>
              <a:path w="641984" h="111760">
                <a:moveTo>
                  <a:pt x="478536" y="111252"/>
                </a:moveTo>
                <a:lnTo>
                  <a:pt x="163068" y="111252"/>
                </a:lnTo>
                <a:lnTo>
                  <a:pt x="0" y="56388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6388"/>
                </a:lnTo>
                <a:lnTo>
                  <a:pt x="478536" y="111252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9" name="object 139"/>
          <p:cNvSpPr/>
          <p:nvPr/>
        </p:nvSpPr>
        <p:spPr>
          <a:xfrm>
            <a:off x="7182522" y="3829723"/>
            <a:ext cx="601196" cy="109257"/>
          </a:xfrm>
          <a:custGeom>
            <a:avLst/>
            <a:gdLst/>
            <a:ahLst/>
            <a:cxnLst/>
            <a:rect l="l" t="t" r="r" b="b"/>
            <a:pathLst>
              <a:path w="681354" h="123825">
                <a:moveTo>
                  <a:pt x="499872" y="123444"/>
                </a:moveTo>
                <a:lnTo>
                  <a:pt x="181356" y="123444"/>
                </a:lnTo>
                <a:lnTo>
                  <a:pt x="0" y="62484"/>
                </a:lnTo>
                <a:lnTo>
                  <a:pt x="181356" y="0"/>
                </a:lnTo>
                <a:lnTo>
                  <a:pt x="499872" y="0"/>
                </a:lnTo>
                <a:lnTo>
                  <a:pt x="535258" y="12192"/>
                </a:lnTo>
                <a:lnTo>
                  <a:pt x="184404" y="12192"/>
                </a:lnTo>
                <a:lnTo>
                  <a:pt x="56593" y="56388"/>
                </a:lnTo>
                <a:lnTo>
                  <a:pt x="21336" y="56388"/>
                </a:lnTo>
                <a:lnTo>
                  <a:pt x="21336" y="68580"/>
                </a:lnTo>
                <a:lnTo>
                  <a:pt x="57573" y="68580"/>
                </a:lnTo>
                <a:lnTo>
                  <a:pt x="184404" y="111252"/>
                </a:lnTo>
                <a:lnTo>
                  <a:pt x="536143" y="111252"/>
                </a:lnTo>
                <a:lnTo>
                  <a:pt x="499872" y="123444"/>
                </a:lnTo>
                <a:close/>
              </a:path>
              <a:path w="681354" h="123825">
                <a:moveTo>
                  <a:pt x="498348" y="13716"/>
                </a:moveTo>
                <a:lnTo>
                  <a:pt x="182880" y="13716"/>
                </a:lnTo>
                <a:lnTo>
                  <a:pt x="184404" y="12192"/>
                </a:lnTo>
                <a:lnTo>
                  <a:pt x="496824" y="12192"/>
                </a:lnTo>
                <a:lnTo>
                  <a:pt x="498348" y="13716"/>
                </a:lnTo>
                <a:close/>
              </a:path>
              <a:path w="681354" h="123825">
                <a:moveTo>
                  <a:pt x="640664" y="62400"/>
                </a:moveTo>
                <a:lnTo>
                  <a:pt x="496824" y="12192"/>
                </a:lnTo>
                <a:lnTo>
                  <a:pt x="535258" y="12192"/>
                </a:lnTo>
                <a:lnTo>
                  <a:pt x="663534" y="56388"/>
                </a:lnTo>
                <a:lnTo>
                  <a:pt x="658368" y="56388"/>
                </a:lnTo>
                <a:lnTo>
                  <a:pt x="640664" y="62400"/>
                </a:lnTo>
                <a:close/>
              </a:path>
              <a:path w="681354" h="123825">
                <a:moveTo>
                  <a:pt x="21336" y="68580"/>
                </a:moveTo>
                <a:lnTo>
                  <a:pt x="21336" y="56388"/>
                </a:lnTo>
                <a:lnTo>
                  <a:pt x="39206" y="62400"/>
                </a:lnTo>
                <a:lnTo>
                  <a:pt x="21336" y="68580"/>
                </a:lnTo>
                <a:close/>
              </a:path>
              <a:path w="681354" h="123825">
                <a:moveTo>
                  <a:pt x="39206" y="62400"/>
                </a:moveTo>
                <a:lnTo>
                  <a:pt x="21336" y="56388"/>
                </a:lnTo>
                <a:lnTo>
                  <a:pt x="56593" y="56388"/>
                </a:lnTo>
                <a:lnTo>
                  <a:pt x="39206" y="62400"/>
                </a:lnTo>
                <a:close/>
              </a:path>
              <a:path w="681354" h="123825">
                <a:moveTo>
                  <a:pt x="658368" y="68580"/>
                </a:moveTo>
                <a:lnTo>
                  <a:pt x="640664" y="62400"/>
                </a:lnTo>
                <a:lnTo>
                  <a:pt x="658368" y="56388"/>
                </a:lnTo>
                <a:lnTo>
                  <a:pt x="658368" y="68580"/>
                </a:lnTo>
                <a:close/>
              </a:path>
              <a:path w="681354" h="123825">
                <a:moveTo>
                  <a:pt x="663092" y="68580"/>
                </a:moveTo>
                <a:lnTo>
                  <a:pt x="658368" y="68580"/>
                </a:lnTo>
                <a:lnTo>
                  <a:pt x="658368" y="56388"/>
                </a:lnTo>
                <a:lnTo>
                  <a:pt x="663534" y="56388"/>
                </a:lnTo>
                <a:lnTo>
                  <a:pt x="681228" y="62484"/>
                </a:lnTo>
                <a:lnTo>
                  <a:pt x="663092" y="68580"/>
                </a:lnTo>
                <a:close/>
              </a:path>
              <a:path w="681354" h="123825">
                <a:moveTo>
                  <a:pt x="57573" y="68580"/>
                </a:moveTo>
                <a:lnTo>
                  <a:pt x="21336" y="68580"/>
                </a:lnTo>
                <a:lnTo>
                  <a:pt x="39206" y="62400"/>
                </a:lnTo>
                <a:lnTo>
                  <a:pt x="57573" y="68580"/>
                </a:lnTo>
                <a:close/>
              </a:path>
              <a:path w="681354" h="123825">
                <a:moveTo>
                  <a:pt x="536143" y="111252"/>
                </a:moveTo>
                <a:lnTo>
                  <a:pt x="496824" y="111252"/>
                </a:lnTo>
                <a:lnTo>
                  <a:pt x="640664" y="62400"/>
                </a:lnTo>
                <a:lnTo>
                  <a:pt x="658368" y="68580"/>
                </a:lnTo>
                <a:lnTo>
                  <a:pt x="663092" y="68580"/>
                </a:lnTo>
                <a:lnTo>
                  <a:pt x="536143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0" name="object 140"/>
          <p:cNvSpPr/>
          <p:nvPr/>
        </p:nvSpPr>
        <p:spPr>
          <a:xfrm>
            <a:off x="7200004" y="3941333"/>
            <a:ext cx="566457" cy="98612"/>
          </a:xfrm>
          <a:custGeom>
            <a:avLst/>
            <a:gdLst/>
            <a:ahLst/>
            <a:cxnLst/>
            <a:rect l="l" t="t" r="r" b="b"/>
            <a:pathLst>
              <a:path w="641984" h="111760">
                <a:moveTo>
                  <a:pt x="478536" y="111252"/>
                </a:moveTo>
                <a:lnTo>
                  <a:pt x="163068" y="111252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11252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1" name="object 141"/>
          <p:cNvSpPr/>
          <p:nvPr/>
        </p:nvSpPr>
        <p:spPr>
          <a:xfrm>
            <a:off x="7182522" y="3935954"/>
            <a:ext cx="601196" cy="109257"/>
          </a:xfrm>
          <a:custGeom>
            <a:avLst/>
            <a:gdLst/>
            <a:ahLst/>
            <a:cxnLst/>
            <a:rect l="l" t="t" r="r" b="b"/>
            <a:pathLst>
              <a:path w="681354" h="123825">
                <a:moveTo>
                  <a:pt x="499872" y="123444"/>
                </a:moveTo>
                <a:lnTo>
                  <a:pt x="181356" y="123444"/>
                </a:lnTo>
                <a:lnTo>
                  <a:pt x="0" y="60960"/>
                </a:lnTo>
                <a:lnTo>
                  <a:pt x="181356" y="0"/>
                </a:lnTo>
                <a:lnTo>
                  <a:pt x="499872" y="0"/>
                </a:lnTo>
                <a:lnTo>
                  <a:pt x="536143" y="12192"/>
                </a:lnTo>
                <a:lnTo>
                  <a:pt x="184404" y="12192"/>
                </a:lnTo>
                <a:lnTo>
                  <a:pt x="57573" y="54864"/>
                </a:lnTo>
                <a:lnTo>
                  <a:pt x="21336" y="54864"/>
                </a:lnTo>
                <a:lnTo>
                  <a:pt x="21336" y="67056"/>
                </a:lnTo>
                <a:lnTo>
                  <a:pt x="56593" y="67056"/>
                </a:lnTo>
                <a:lnTo>
                  <a:pt x="184404" y="111252"/>
                </a:lnTo>
                <a:lnTo>
                  <a:pt x="535258" y="111252"/>
                </a:lnTo>
                <a:lnTo>
                  <a:pt x="499872" y="123444"/>
                </a:lnTo>
                <a:close/>
              </a:path>
              <a:path w="681354" h="123825">
                <a:moveTo>
                  <a:pt x="640664" y="61043"/>
                </a:moveTo>
                <a:lnTo>
                  <a:pt x="496824" y="12192"/>
                </a:lnTo>
                <a:lnTo>
                  <a:pt x="536143" y="12192"/>
                </a:lnTo>
                <a:lnTo>
                  <a:pt x="663092" y="54864"/>
                </a:lnTo>
                <a:lnTo>
                  <a:pt x="658368" y="54864"/>
                </a:lnTo>
                <a:lnTo>
                  <a:pt x="640664" y="61043"/>
                </a:lnTo>
                <a:close/>
              </a:path>
              <a:path w="681354" h="123825">
                <a:moveTo>
                  <a:pt x="21336" y="67056"/>
                </a:moveTo>
                <a:lnTo>
                  <a:pt x="21336" y="54864"/>
                </a:lnTo>
                <a:lnTo>
                  <a:pt x="39206" y="61043"/>
                </a:lnTo>
                <a:lnTo>
                  <a:pt x="21336" y="67056"/>
                </a:lnTo>
                <a:close/>
              </a:path>
              <a:path w="681354" h="123825">
                <a:moveTo>
                  <a:pt x="39206" y="61043"/>
                </a:moveTo>
                <a:lnTo>
                  <a:pt x="21336" y="54864"/>
                </a:lnTo>
                <a:lnTo>
                  <a:pt x="57573" y="54864"/>
                </a:lnTo>
                <a:lnTo>
                  <a:pt x="39206" y="61043"/>
                </a:lnTo>
                <a:close/>
              </a:path>
              <a:path w="681354" h="123825">
                <a:moveTo>
                  <a:pt x="658368" y="67056"/>
                </a:moveTo>
                <a:lnTo>
                  <a:pt x="640664" y="61043"/>
                </a:lnTo>
                <a:lnTo>
                  <a:pt x="658368" y="54864"/>
                </a:lnTo>
                <a:lnTo>
                  <a:pt x="658368" y="67056"/>
                </a:lnTo>
                <a:close/>
              </a:path>
              <a:path w="681354" h="123825">
                <a:moveTo>
                  <a:pt x="663534" y="67056"/>
                </a:moveTo>
                <a:lnTo>
                  <a:pt x="658368" y="67056"/>
                </a:lnTo>
                <a:lnTo>
                  <a:pt x="658368" y="54864"/>
                </a:lnTo>
                <a:lnTo>
                  <a:pt x="663092" y="54864"/>
                </a:lnTo>
                <a:lnTo>
                  <a:pt x="681228" y="60960"/>
                </a:lnTo>
                <a:lnTo>
                  <a:pt x="663534" y="67056"/>
                </a:lnTo>
                <a:close/>
              </a:path>
              <a:path w="681354" h="123825">
                <a:moveTo>
                  <a:pt x="56593" y="67056"/>
                </a:moveTo>
                <a:lnTo>
                  <a:pt x="21336" y="67056"/>
                </a:lnTo>
                <a:lnTo>
                  <a:pt x="39206" y="61043"/>
                </a:lnTo>
                <a:lnTo>
                  <a:pt x="56593" y="67056"/>
                </a:lnTo>
                <a:close/>
              </a:path>
              <a:path w="681354" h="123825">
                <a:moveTo>
                  <a:pt x="535258" y="111252"/>
                </a:moveTo>
                <a:lnTo>
                  <a:pt x="496824" y="111252"/>
                </a:lnTo>
                <a:lnTo>
                  <a:pt x="640664" y="61043"/>
                </a:lnTo>
                <a:lnTo>
                  <a:pt x="658368" y="67056"/>
                </a:lnTo>
                <a:lnTo>
                  <a:pt x="663534" y="67056"/>
                </a:lnTo>
                <a:lnTo>
                  <a:pt x="535258" y="111252"/>
                </a:lnTo>
                <a:close/>
              </a:path>
              <a:path w="681354" h="123825">
                <a:moveTo>
                  <a:pt x="496824" y="111252"/>
                </a:moveTo>
                <a:lnTo>
                  <a:pt x="184404" y="111252"/>
                </a:lnTo>
                <a:lnTo>
                  <a:pt x="182880" y="109728"/>
                </a:lnTo>
                <a:lnTo>
                  <a:pt x="498348" y="109728"/>
                </a:lnTo>
                <a:lnTo>
                  <a:pt x="496824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2" name="object 142"/>
          <p:cNvSpPr/>
          <p:nvPr/>
        </p:nvSpPr>
        <p:spPr>
          <a:xfrm>
            <a:off x="6785835" y="4732020"/>
            <a:ext cx="566457" cy="96931"/>
          </a:xfrm>
          <a:custGeom>
            <a:avLst/>
            <a:gdLst/>
            <a:ahLst/>
            <a:cxnLst/>
            <a:rect l="l" t="t" r="r" b="b"/>
            <a:pathLst>
              <a:path w="641985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3" name="object 143"/>
          <p:cNvSpPr/>
          <p:nvPr/>
        </p:nvSpPr>
        <p:spPr>
          <a:xfrm>
            <a:off x="6768353" y="4726641"/>
            <a:ext cx="601196" cy="107576"/>
          </a:xfrm>
          <a:custGeom>
            <a:avLst/>
            <a:gdLst/>
            <a:ahLst/>
            <a:cxnLst/>
            <a:rect l="l" t="t" r="r" b="b"/>
            <a:pathLst>
              <a:path w="681354" h="121920">
                <a:moveTo>
                  <a:pt x="499872" y="121920"/>
                </a:moveTo>
                <a:lnTo>
                  <a:pt x="181356" y="121920"/>
                </a:lnTo>
                <a:lnTo>
                  <a:pt x="0" y="60960"/>
                </a:lnTo>
                <a:lnTo>
                  <a:pt x="181356" y="0"/>
                </a:lnTo>
                <a:lnTo>
                  <a:pt x="499872" y="0"/>
                </a:lnTo>
                <a:lnTo>
                  <a:pt x="536143" y="12192"/>
                </a:lnTo>
                <a:lnTo>
                  <a:pt x="184404" y="12192"/>
                </a:lnTo>
                <a:lnTo>
                  <a:pt x="57573" y="54864"/>
                </a:lnTo>
                <a:lnTo>
                  <a:pt x="21336" y="54864"/>
                </a:lnTo>
                <a:lnTo>
                  <a:pt x="21336" y="67056"/>
                </a:lnTo>
                <a:lnTo>
                  <a:pt x="57573" y="67056"/>
                </a:lnTo>
                <a:lnTo>
                  <a:pt x="184404" y="109728"/>
                </a:lnTo>
                <a:lnTo>
                  <a:pt x="536143" y="109728"/>
                </a:lnTo>
                <a:lnTo>
                  <a:pt x="499872" y="121920"/>
                </a:lnTo>
                <a:close/>
              </a:path>
              <a:path w="681354" h="121920">
                <a:moveTo>
                  <a:pt x="641773" y="60960"/>
                </a:moveTo>
                <a:lnTo>
                  <a:pt x="496824" y="12192"/>
                </a:lnTo>
                <a:lnTo>
                  <a:pt x="536143" y="12192"/>
                </a:lnTo>
                <a:lnTo>
                  <a:pt x="663092" y="54864"/>
                </a:lnTo>
                <a:lnTo>
                  <a:pt x="659892" y="54864"/>
                </a:lnTo>
                <a:lnTo>
                  <a:pt x="641773" y="60960"/>
                </a:lnTo>
                <a:close/>
              </a:path>
              <a:path w="681354" h="121920">
                <a:moveTo>
                  <a:pt x="21336" y="67056"/>
                </a:moveTo>
                <a:lnTo>
                  <a:pt x="21336" y="54864"/>
                </a:lnTo>
                <a:lnTo>
                  <a:pt x="39454" y="60960"/>
                </a:lnTo>
                <a:lnTo>
                  <a:pt x="21336" y="67056"/>
                </a:lnTo>
                <a:close/>
              </a:path>
              <a:path w="681354" h="121920">
                <a:moveTo>
                  <a:pt x="39454" y="60960"/>
                </a:moveTo>
                <a:lnTo>
                  <a:pt x="21336" y="54864"/>
                </a:lnTo>
                <a:lnTo>
                  <a:pt x="57573" y="54864"/>
                </a:lnTo>
                <a:lnTo>
                  <a:pt x="39454" y="60960"/>
                </a:lnTo>
                <a:close/>
              </a:path>
              <a:path w="681354" h="121920">
                <a:moveTo>
                  <a:pt x="659892" y="67056"/>
                </a:moveTo>
                <a:lnTo>
                  <a:pt x="641773" y="60960"/>
                </a:lnTo>
                <a:lnTo>
                  <a:pt x="659892" y="54864"/>
                </a:lnTo>
                <a:lnTo>
                  <a:pt x="659892" y="67056"/>
                </a:lnTo>
                <a:close/>
              </a:path>
              <a:path w="681354" h="121920">
                <a:moveTo>
                  <a:pt x="663092" y="67056"/>
                </a:moveTo>
                <a:lnTo>
                  <a:pt x="659892" y="67056"/>
                </a:lnTo>
                <a:lnTo>
                  <a:pt x="659892" y="54864"/>
                </a:lnTo>
                <a:lnTo>
                  <a:pt x="663092" y="54864"/>
                </a:lnTo>
                <a:lnTo>
                  <a:pt x="681228" y="60960"/>
                </a:lnTo>
                <a:lnTo>
                  <a:pt x="663092" y="67056"/>
                </a:lnTo>
                <a:close/>
              </a:path>
              <a:path w="681354" h="121920">
                <a:moveTo>
                  <a:pt x="57573" y="67056"/>
                </a:moveTo>
                <a:lnTo>
                  <a:pt x="21336" y="67056"/>
                </a:lnTo>
                <a:lnTo>
                  <a:pt x="39454" y="60960"/>
                </a:lnTo>
                <a:lnTo>
                  <a:pt x="57573" y="67056"/>
                </a:lnTo>
                <a:close/>
              </a:path>
              <a:path w="681354" h="121920">
                <a:moveTo>
                  <a:pt x="536143" y="109728"/>
                </a:moveTo>
                <a:lnTo>
                  <a:pt x="496824" y="109728"/>
                </a:lnTo>
                <a:lnTo>
                  <a:pt x="641773" y="60960"/>
                </a:lnTo>
                <a:lnTo>
                  <a:pt x="659892" y="67056"/>
                </a:lnTo>
                <a:lnTo>
                  <a:pt x="663092" y="67056"/>
                </a:lnTo>
                <a:lnTo>
                  <a:pt x="536143" y="1097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4" name="object 144"/>
          <p:cNvSpPr/>
          <p:nvPr/>
        </p:nvSpPr>
        <p:spPr>
          <a:xfrm>
            <a:off x="6367631" y="4573345"/>
            <a:ext cx="566457" cy="96931"/>
          </a:xfrm>
          <a:custGeom>
            <a:avLst/>
            <a:gdLst/>
            <a:ahLst/>
            <a:cxnLst/>
            <a:rect l="l" t="t" r="r" b="b"/>
            <a:pathLst>
              <a:path w="641985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5" name="object 145"/>
          <p:cNvSpPr/>
          <p:nvPr/>
        </p:nvSpPr>
        <p:spPr>
          <a:xfrm>
            <a:off x="6350149" y="4566621"/>
            <a:ext cx="601196" cy="109257"/>
          </a:xfrm>
          <a:custGeom>
            <a:avLst/>
            <a:gdLst/>
            <a:ahLst/>
            <a:cxnLst/>
            <a:rect l="l" t="t" r="r" b="b"/>
            <a:pathLst>
              <a:path w="681354" h="123825">
                <a:moveTo>
                  <a:pt x="499872" y="123444"/>
                </a:moveTo>
                <a:lnTo>
                  <a:pt x="181356" y="123444"/>
                </a:lnTo>
                <a:lnTo>
                  <a:pt x="0" y="62484"/>
                </a:lnTo>
                <a:lnTo>
                  <a:pt x="181356" y="0"/>
                </a:lnTo>
                <a:lnTo>
                  <a:pt x="499872" y="0"/>
                </a:lnTo>
                <a:lnTo>
                  <a:pt x="539681" y="13716"/>
                </a:lnTo>
                <a:lnTo>
                  <a:pt x="184404" y="13716"/>
                </a:lnTo>
                <a:lnTo>
                  <a:pt x="57573" y="56388"/>
                </a:lnTo>
                <a:lnTo>
                  <a:pt x="21336" y="56388"/>
                </a:lnTo>
                <a:lnTo>
                  <a:pt x="21336" y="68580"/>
                </a:lnTo>
                <a:lnTo>
                  <a:pt x="57573" y="68580"/>
                </a:lnTo>
                <a:lnTo>
                  <a:pt x="184404" y="111252"/>
                </a:lnTo>
                <a:lnTo>
                  <a:pt x="536143" y="111252"/>
                </a:lnTo>
                <a:lnTo>
                  <a:pt x="499872" y="123444"/>
                </a:lnTo>
                <a:close/>
              </a:path>
              <a:path w="681354" h="123825">
                <a:moveTo>
                  <a:pt x="641773" y="62484"/>
                </a:moveTo>
                <a:lnTo>
                  <a:pt x="496824" y="13716"/>
                </a:lnTo>
                <a:lnTo>
                  <a:pt x="539681" y="13716"/>
                </a:lnTo>
                <a:lnTo>
                  <a:pt x="663534" y="56388"/>
                </a:lnTo>
                <a:lnTo>
                  <a:pt x="659892" y="56388"/>
                </a:lnTo>
                <a:lnTo>
                  <a:pt x="641773" y="62484"/>
                </a:lnTo>
                <a:close/>
              </a:path>
              <a:path w="681354" h="123825">
                <a:moveTo>
                  <a:pt x="21336" y="68580"/>
                </a:moveTo>
                <a:lnTo>
                  <a:pt x="21336" y="56388"/>
                </a:lnTo>
                <a:lnTo>
                  <a:pt x="39454" y="62484"/>
                </a:lnTo>
                <a:lnTo>
                  <a:pt x="21336" y="68580"/>
                </a:lnTo>
                <a:close/>
              </a:path>
              <a:path w="681354" h="123825">
                <a:moveTo>
                  <a:pt x="39454" y="62484"/>
                </a:moveTo>
                <a:lnTo>
                  <a:pt x="21336" y="56388"/>
                </a:lnTo>
                <a:lnTo>
                  <a:pt x="57573" y="56388"/>
                </a:lnTo>
                <a:lnTo>
                  <a:pt x="39454" y="62484"/>
                </a:lnTo>
                <a:close/>
              </a:path>
              <a:path w="681354" h="123825">
                <a:moveTo>
                  <a:pt x="659892" y="68580"/>
                </a:moveTo>
                <a:lnTo>
                  <a:pt x="641773" y="62484"/>
                </a:lnTo>
                <a:lnTo>
                  <a:pt x="659892" y="56388"/>
                </a:lnTo>
                <a:lnTo>
                  <a:pt x="659892" y="68580"/>
                </a:lnTo>
                <a:close/>
              </a:path>
              <a:path w="681354" h="123825">
                <a:moveTo>
                  <a:pt x="663092" y="68580"/>
                </a:moveTo>
                <a:lnTo>
                  <a:pt x="659892" y="68580"/>
                </a:lnTo>
                <a:lnTo>
                  <a:pt x="659892" y="56388"/>
                </a:lnTo>
                <a:lnTo>
                  <a:pt x="663534" y="56388"/>
                </a:lnTo>
                <a:lnTo>
                  <a:pt x="681228" y="62484"/>
                </a:lnTo>
                <a:lnTo>
                  <a:pt x="663092" y="68580"/>
                </a:lnTo>
                <a:close/>
              </a:path>
              <a:path w="681354" h="123825">
                <a:moveTo>
                  <a:pt x="57573" y="68580"/>
                </a:moveTo>
                <a:lnTo>
                  <a:pt x="21336" y="68580"/>
                </a:lnTo>
                <a:lnTo>
                  <a:pt x="39454" y="62484"/>
                </a:lnTo>
                <a:lnTo>
                  <a:pt x="57573" y="68580"/>
                </a:lnTo>
                <a:close/>
              </a:path>
              <a:path w="681354" h="123825">
                <a:moveTo>
                  <a:pt x="536143" y="111252"/>
                </a:moveTo>
                <a:lnTo>
                  <a:pt x="496824" y="111252"/>
                </a:lnTo>
                <a:lnTo>
                  <a:pt x="641773" y="62484"/>
                </a:lnTo>
                <a:lnTo>
                  <a:pt x="659892" y="68580"/>
                </a:lnTo>
                <a:lnTo>
                  <a:pt x="663092" y="68580"/>
                </a:lnTo>
                <a:lnTo>
                  <a:pt x="536143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6" name="object 146"/>
          <p:cNvSpPr/>
          <p:nvPr/>
        </p:nvSpPr>
        <p:spPr>
          <a:xfrm>
            <a:off x="6367631" y="4678232"/>
            <a:ext cx="566457" cy="98612"/>
          </a:xfrm>
          <a:custGeom>
            <a:avLst/>
            <a:gdLst/>
            <a:ahLst/>
            <a:cxnLst/>
            <a:rect l="l" t="t" r="r" b="b"/>
            <a:pathLst>
              <a:path w="641985" h="111760">
                <a:moveTo>
                  <a:pt x="478536" y="111252"/>
                </a:moveTo>
                <a:lnTo>
                  <a:pt x="163068" y="111252"/>
                </a:lnTo>
                <a:lnTo>
                  <a:pt x="0" y="56388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6388"/>
                </a:lnTo>
                <a:lnTo>
                  <a:pt x="478536" y="111252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7" name="object 147"/>
          <p:cNvSpPr/>
          <p:nvPr/>
        </p:nvSpPr>
        <p:spPr>
          <a:xfrm>
            <a:off x="6350149" y="4672854"/>
            <a:ext cx="601196" cy="109257"/>
          </a:xfrm>
          <a:custGeom>
            <a:avLst/>
            <a:gdLst/>
            <a:ahLst/>
            <a:cxnLst/>
            <a:rect l="l" t="t" r="r" b="b"/>
            <a:pathLst>
              <a:path w="681354" h="123825">
                <a:moveTo>
                  <a:pt x="499872" y="123444"/>
                </a:moveTo>
                <a:lnTo>
                  <a:pt x="181356" y="123444"/>
                </a:lnTo>
                <a:lnTo>
                  <a:pt x="0" y="62484"/>
                </a:lnTo>
                <a:lnTo>
                  <a:pt x="181356" y="0"/>
                </a:lnTo>
                <a:lnTo>
                  <a:pt x="499872" y="0"/>
                </a:lnTo>
                <a:lnTo>
                  <a:pt x="535258" y="12192"/>
                </a:lnTo>
                <a:lnTo>
                  <a:pt x="184404" y="12192"/>
                </a:lnTo>
                <a:lnTo>
                  <a:pt x="56593" y="56388"/>
                </a:lnTo>
                <a:lnTo>
                  <a:pt x="21336" y="56388"/>
                </a:lnTo>
                <a:lnTo>
                  <a:pt x="21336" y="68580"/>
                </a:lnTo>
                <a:lnTo>
                  <a:pt x="57573" y="68580"/>
                </a:lnTo>
                <a:lnTo>
                  <a:pt x="184404" y="111252"/>
                </a:lnTo>
                <a:lnTo>
                  <a:pt x="536143" y="111252"/>
                </a:lnTo>
                <a:lnTo>
                  <a:pt x="499872" y="123444"/>
                </a:lnTo>
                <a:close/>
              </a:path>
              <a:path w="681354" h="123825">
                <a:moveTo>
                  <a:pt x="498348" y="13716"/>
                </a:moveTo>
                <a:lnTo>
                  <a:pt x="182880" y="13716"/>
                </a:lnTo>
                <a:lnTo>
                  <a:pt x="184404" y="12192"/>
                </a:lnTo>
                <a:lnTo>
                  <a:pt x="496824" y="12192"/>
                </a:lnTo>
                <a:lnTo>
                  <a:pt x="498348" y="13716"/>
                </a:lnTo>
                <a:close/>
              </a:path>
              <a:path w="681354" h="123825">
                <a:moveTo>
                  <a:pt x="642021" y="62400"/>
                </a:moveTo>
                <a:lnTo>
                  <a:pt x="496824" y="12192"/>
                </a:lnTo>
                <a:lnTo>
                  <a:pt x="535258" y="12192"/>
                </a:lnTo>
                <a:lnTo>
                  <a:pt x="663534" y="56388"/>
                </a:lnTo>
                <a:lnTo>
                  <a:pt x="659892" y="56388"/>
                </a:lnTo>
                <a:lnTo>
                  <a:pt x="642021" y="62400"/>
                </a:lnTo>
                <a:close/>
              </a:path>
              <a:path w="681354" h="123825">
                <a:moveTo>
                  <a:pt x="21336" y="68580"/>
                </a:moveTo>
                <a:lnTo>
                  <a:pt x="21336" y="56388"/>
                </a:lnTo>
                <a:lnTo>
                  <a:pt x="39206" y="62400"/>
                </a:lnTo>
                <a:lnTo>
                  <a:pt x="21336" y="68580"/>
                </a:lnTo>
                <a:close/>
              </a:path>
              <a:path w="681354" h="123825">
                <a:moveTo>
                  <a:pt x="39206" y="62400"/>
                </a:moveTo>
                <a:lnTo>
                  <a:pt x="21336" y="56388"/>
                </a:lnTo>
                <a:lnTo>
                  <a:pt x="56593" y="56388"/>
                </a:lnTo>
                <a:lnTo>
                  <a:pt x="39206" y="62400"/>
                </a:lnTo>
                <a:close/>
              </a:path>
              <a:path w="681354" h="123825">
                <a:moveTo>
                  <a:pt x="659892" y="68580"/>
                </a:moveTo>
                <a:lnTo>
                  <a:pt x="642021" y="62400"/>
                </a:lnTo>
                <a:lnTo>
                  <a:pt x="659892" y="56388"/>
                </a:lnTo>
                <a:lnTo>
                  <a:pt x="659892" y="68580"/>
                </a:lnTo>
                <a:close/>
              </a:path>
              <a:path w="681354" h="123825">
                <a:moveTo>
                  <a:pt x="663092" y="68580"/>
                </a:moveTo>
                <a:lnTo>
                  <a:pt x="659892" y="68580"/>
                </a:lnTo>
                <a:lnTo>
                  <a:pt x="659892" y="56388"/>
                </a:lnTo>
                <a:lnTo>
                  <a:pt x="663534" y="56388"/>
                </a:lnTo>
                <a:lnTo>
                  <a:pt x="681228" y="62484"/>
                </a:lnTo>
                <a:lnTo>
                  <a:pt x="663092" y="68580"/>
                </a:lnTo>
                <a:close/>
              </a:path>
              <a:path w="681354" h="123825">
                <a:moveTo>
                  <a:pt x="57573" y="68580"/>
                </a:moveTo>
                <a:lnTo>
                  <a:pt x="21336" y="68580"/>
                </a:lnTo>
                <a:lnTo>
                  <a:pt x="39206" y="62400"/>
                </a:lnTo>
                <a:lnTo>
                  <a:pt x="57573" y="68580"/>
                </a:lnTo>
                <a:close/>
              </a:path>
              <a:path w="681354" h="123825">
                <a:moveTo>
                  <a:pt x="536143" y="111252"/>
                </a:moveTo>
                <a:lnTo>
                  <a:pt x="496824" y="111252"/>
                </a:lnTo>
                <a:lnTo>
                  <a:pt x="642021" y="62400"/>
                </a:lnTo>
                <a:lnTo>
                  <a:pt x="659892" y="68580"/>
                </a:lnTo>
                <a:lnTo>
                  <a:pt x="663092" y="68580"/>
                </a:lnTo>
                <a:lnTo>
                  <a:pt x="536143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8" name="object 148"/>
          <p:cNvSpPr/>
          <p:nvPr/>
        </p:nvSpPr>
        <p:spPr>
          <a:xfrm>
            <a:off x="6367631" y="4784463"/>
            <a:ext cx="566457" cy="98612"/>
          </a:xfrm>
          <a:custGeom>
            <a:avLst/>
            <a:gdLst/>
            <a:ahLst/>
            <a:cxnLst/>
            <a:rect l="l" t="t" r="r" b="b"/>
            <a:pathLst>
              <a:path w="641985" h="111760">
                <a:moveTo>
                  <a:pt x="478536" y="111252"/>
                </a:moveTo>
                <a:lnTo>
                  <a:pt x="163068" y="111252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11252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9" name="object 149"/>
          <p:cNvSpPr/>
          <p:nvPr/>
        </p:nvSpPr>
        <p:spPr>
          <a:xfrm>
            <a:off x="6350149" y="4779085"/>
            <a:ext cx="601196" cy="109257"/>
          </a:xfrm>
          <a:custGeom>
            <a:avLst/>
            <a:gdLst/>
            <a:ahLst/>
            <a:cxnLst/>
            <a:rect l="l" t="t" r="r" b="b"/>
            <a:pathLst>
              <a:path w="681354" h="123825">
                <a:moveTo>
                  <a:pt x="499872" y="123444"/>
                </a:moveTo>
                <a:lnTo>
                  <a:pt x="181356" y="123444"/>
                </a:lnTo>
                <a:lnTo>
                  <a:pt x="0" y="60960"/>
                </a:lnTo>
                <a:lnTo>
                  <a:pt x="181356" y="0"/>
                </a:lnTo>
                <a:lnTo>
                  <a:pt x="499872" y="0"/>
                </a:lnTo>
                <a:lnTo>
                  <a:pt x="536143" y="12192"/>
                </a:lnTo>
                <a:lnTo>
                  <a:pt x="184404" y="12192"/>
                </a:lnTo>
                <a:lnTo>
                  <a:pt x="53043" y="56388"/>
                </a:lnTo>
                <a:lnTo>
                  <a:pt x="21336" y="56388"/>
                </a:lnTo>
                <a:lnTo>
                  <a:pt x="21336" y="67056"/>
                </a:lnTo>
                <a:lnTo>
                  <a:pt x="53043" y="67056"/>
                </a:lnTo>
                <a:lnTo>
                  <a:pt x="184404" y="111252"/>
                </a:lnTo>
                <a:lnTo>
                  <a:pt x="535258" y="111252"/>
                </a:lnTo>
                <a:lnTo>
                  <a:pt x="499872" y="123444"/>
                </a:lnTo>
                <a:close/>
              </a:path>
              <a:path w="681354" h="123825">
                <a:moveTo>
                  <a:pt x="498348" y="13716"/>
                </a:moveTo>
                <a:lnTo>
                  <a:pt x="182880" y="13716"/>
                </a:lnTo>
                <a:lnTo>
                  <a:pt x="184404" y="12192"/>
                </a:lnTo>
                <a:lnTo>
                  <a:pt x="496824" y="12192"/>
                </a:lnTo>
                <a:lnTo>
                  <a:pt x="498348" y="13716"/>
                </a:lnTo>
                <a:close/>
              </a:path>
              <a:path w="681354" h="123825">
                <a:moveTo>
                  <a:pt x="644038" y="61722"/>
                </a:moveTo>
                <a:lnTo>
                  <a:pt x="496824" y="12192"/>
                </a:lnTo>
                <a:lnTo>
                  <a:pt x="536143" y="12192"/>
                </a:lnTo>
                <a:lnTo>
                  <a:pt x="667626" y="56388"/>
                </a:lnTo>
                <a:lnTo>
                  <a:pt x="659892" y="56388"/>
                </a:lnTo>
                <a:lnTo>
                  <a:pt x="644038" y="61722"/>
                </a:lnTo>
                <a:close/>
              </a:path>
              <a:path w="681354" h="123825">
                <a:moveTo>
                  <a:pt x="21336" y="67056"/>
                </a:moveTo>
                <a:lnTo>
                  <a:pt x="21336" y="56388"/>
                </a:lnTo>
                <a:lnTo>
                  <a:pt x="37189" y="61722"/>
                </a:lnTo>
                <a:lnTo>
                  <a:pt x="21336" y="67056"/>
                </a:lnTo>
                <a:close/>
              </a:path>
              <a:path w="681354" h="123825">
                <a:moveTo>
                  <a:pt x="37189" y="61722"/>
                </a:moveTo>
                <a:lnTo>
                  <a:pt x="21336" y="56388"/>
                </a:lnTo>
                <a:lnTo>
                  <a:pt x="53043" y="56388"/>
                </a:lnTo>
                <a:lnTo>
                  <a:pt x="37189" y="61722"/>
                </a:lnTo>
                <a:close/>
              </a:path>
              <a:path w="681354" h="123825">
                <a:moveTo>
                  <a:pt x="659892" y="67056"/>
                </a:moveTo>
                <a:lnTo>
                  <a:pt x="644038" y="61722"/>
                </a:lnTo>
                <a:lnTo>
                  <a:pt x="659892" y="56388"/>
                </a:lnTo>
                <a:lnTo>
                  <a:pt x="659892" y="67056"/>
                </a:lnTo>
                <a:close/>
              </a:path>
              <a:path w="681354" h="123825">
                <a:moveTo>
                  <a:pt x="663534" y="67056"/>
                </a:moveTo>
                <a:lnTo>
                  <a:pt x="659892" y="67056"/>
                </a:lnTo>
                <a:lnTo>
                  <a:pt x="659892" y="56388"/>
                </a:lnTo>
                <a:lnTo>
                  <a:pt x="667626" y="56388"/>
                </a:lnTo>
                <a:lnTo>
                  <a:pt x="681228" y="60960"/>
                </a:lnTo>
                <a:lnTo>
                  <a:pt x="663534" y="67056"/>
                </a:lnTo>
                <a:close/>
              </a:path>
              <a:path w="681354" h="123825">
                <a:moveTo>
                  <a:pt x="53043" y="67056"/>
                </a:moveTo>
                <a:lnTo>
                  <a:pt x="21336" y="67056"/>
                </a:lnTo>
                <a:lnTo>
                  <a:pt x="37189" y="61722"/>
                </a:lnTo>
                <a:lnTo>
                  <a:pt x="53043" y="67056"/>
                </a:lnTo>
                <a:close/>
              </a:path>
              <a:path w="681354" h="123825">
                <a:moveTo>
                  <a:pt x="535258" y="111252"/>
                </a:moveTo>
                <a:lnTo>
                  <a:pt x="496824" y="111252"/>
                </a:lnTo>
                <a:lnTo>
                  <a:pt x="644038" y="61722"/>
                </a:lnTo>
                <a:lnTo>
                  <a:pt x="659892" y="67056"/>
                </a:lnTo>
                <a:lnTo>
                  <a:pt x="663534" y="67056"/>
                </a:lnTo>
                <a:lnTo>
                  <a:pt x="535258" y="111252"/>
                </a:lnTo>
                <a:close/>
              </a:path>
              <a:path w="681354" h="123825">
                <a:moveTo>
                  <a:pt x="496824" y="111252"/>
                </a:moveTo>
                <a:lnTo>
                  <a:pt x="184404" y="111252"/>
                </a:lnTo>
                <a:lnTo>
                  <a:pt x="182880" y="109728"/>
                </a:lnTo>
                <a:lnTo>
                  <a:pt x="498348" y="109728"/>
                </a:lnTo>
                <a:lnTo>
                  <a:pt x="496824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0" name="object 150"/>
          <p:cNvSpPr/>
          <p:nvPr/>
        </p:nvSpPr>
        <p:spPr>
          <a:xfrm>
            <a:off x="6367631" y="4890695"/>
            <a:ext cx="566457" cy="98612"/>
          </a:xfrm>
          <a:custGeom>
            <a:avLst/>
            <a:gdLst/>
            <a:ahLst/>
            <a:cxnLst/>
            <a:rect l="l" t="t" r="r" b="b"/>
            <a:pathLst>
              <a:path w="641985" h="111760">
                <a:moveTo>
                  <a:pt x="478536" y="111252"/>
                </a:moveTo>
                <a:lnTo>
                  <a:pt x="163068" y="111252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11252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1" name="object 151"/>
          <p:cNvSpPr/>
          <p:nvPr/>
        </p:nvSpPr>
        <p:spPr>
          <a:xfrm>
            <a:off x="6350149" y="4885316"/>
            <a:ext cx="601196" cy="109257"/>
          </a:xfrm>
          <a:custGeom>
            <a:avLst/>
            <a:gdLst/>
            <a:ahLst/>
            <a:cxnLst/>
            <a:rect l="l" t="t" r="r" b="b"/>
            <a:pathLst>
              <a:path w="681354" h="123825">
                <a:moveTo>
                  <a:pt x="499872" y="123444"/>
                </a:moveTo>
                <a:lnTo>
                  <a:pt x="181356" y="123444"/>
                </a:lnTo>
                <a:lnTo>
                  <a:pt x="0" y="60960"/>
                </a:lnTo>
                <a:lnTo>
                  <a:pt x="181356" y="0"/>
                </a:lnTo>
                <a:lnTo>
                  <a:pt x="499872" y="0"/>
                </a:lnTo>
                <a:lnTo>
                  <a:pt x="536143" y="12192"/>
                </a:lnTo>
                <a:lnTo>
                  <a:pt x="184404" y="12192"/>
                </a:lnTo>
                <a:lnTo>
                  <a:pt x="57573" y="54864"/>
                </a:lnTo>
                <a:lnTo>
                  <a:pt x="21336" y="54864"/>
                </a:lnTo>
                <a:lnTo>
                  <a:pt x="21336" y="67056"/>
                </a:lnTo>
                <a:lnTo>
                  <a:pt x="56593" y="67056"/>
                </a:lnTo>
                <a:lnTo>
                  <a:pt x="184404" y="111252"/>
                </a:lnTo>
                <a:lnTo>
                  <a:pt x="535258" y="111252"/>
                </a:lnTo>
                <a:lnTo>
                  <a:pt x="499872" y="123444"/>
                </a:lnTo>
                <a:close/>
              </a:path>
              <a:path w="681354" h="123825">
                <a:moveTo>
                  <a:pt x="642021" y="61043"/>
                </a:moveTo>
                <a:lnTo>
                  <a:pt x="496824" y="12192"/>
                </a:lnTo>
                <a:lnTo>
                  <a:pt x="536143" y="12192"/>
                </a:lnTo>
                <a:lnTo>
                  <a:pt x="663092" y="54864"/>
                </a:lnTo>
                <a:lnTo>
                  <a:pt x="659892" y="54864"/>
                </a:lnTo>
                <a:lnTo>
                  <a:pt x="642021" y="61043"/>
                </a:lnTo>
                <a:close/>
              </a:path>
              <a:path w="681354" h="123825">
                <a:moveTo>
                  <a:pt x="21336" y="67056"/>
                </a:moveTo>
                <a:lnTo>
                  <a:pt x="21336" y="54864"/>
                </a:lnTo>
                <a:lnTo>
                  <a:pt x="39206" y="61043"/>
                </a:lnTo>
                <a:lnTo>
                  <a:pt x="21336" y="67056"/>
                </a:lnTo>
                <a:close/>
              </a:path>
              <a:path w="681354" h="123825">
                <a:moveTo>
                  <a:pt x="39206" y="61043"/>
                </a:moveTo>
                <a:lnTo>
                  <a:pt x="21336" y="54864"/>
                </a:lnTo>
                <a:lnTo>
                  <a:pt x="57573" y="54864"/>
                </a:lnTo>
                <a:lnTo>
                  <a:pt x="39206" y="61043"/>
                </a:lnTo>
                <a:close/>
              </a:path>
              <a:path w="681354" h="123825">
                <a:moveTo>
                  <a:pt x="659892" y="67056"/>
                </a:moveTo>
                <a:lnTo>
                  <a:pt x="642021" y="61043"/>
                </a:lnTo>
                <a:lnTo>
                  <a:pt x="659892" y="54864"/>
                </a:lnTo>
                <a:lnTo>
                  <a:pt x="659892" y="67056"/>
                </a:lnTo>
                <a:close/>
              </a:path>
              <a:path w="681354" h="123825">
                <a:moveTo>
                  <a:pt x="663534" y="67056"/>
                </a:moveTo>
                <a:lnTo>
                  <a:pt x="659892" y="67056"/>
                </a:lnTo>
                <a:lnTo>
                  <a:pt x="659892" y="54864"/>
                </a:lnTo>
                <a:lnTo>
                  <a:pt x="663092" y="54864"/>
                </a:lnTo>
                <a:lnTo>
                  <a:pt x="681228" y="60960"/>
                </a:lnTo>
                <a:lnTo>
                  <a:pt x="663534" y="67056"/>
                </a:lnTo>
                <a:close/>
              </a:path>
              <a:path w="681354" h="123825">
                <a:moveTo>
                  <a:pt x="56593" y="67056"/>
                </a:moveTo>
                <a:lnTo>
                  <a:pt x="21336" y="67056"/>
                </a:lnTo>
                <a:lnTo>
                  <a:pt x="39206" y="61043"/>
                </a:lnTo>
                <a:lnTo>
                  <a:pt x="56593" y="67056"/>
                </a:lnTo>
                <a:close/>
              </a:path>
              <a:path w="681354" h="123825">
                <a:moveTo>
                  <a:pt x="535258" y="111252"/>
                </a:moveTo>
                <a:lnTo>
                  <a:pt x="496824" y="111252"/>
                </a:lnTo>
                <a:lnTo>
                  <a:pt x="642021" y="61043"/>
                </a:lnTo>
                <a:lnTo>
                  <a:pt x="659892" y="67056"/>
                </a:lnTo>
                <a:lnTo>
                  <a:pt x="663534" y="67056"/>
                </a:lnTo>
                <a:lnTo>
                  <a:pt x="535258" y="111252"/>
                </a:lnTo>
                <a:close/>
              </a:path>
              <a:path w="681354" h="123825">
                <a:moveTo>
                  <a:pt x="496824" y="111252"/>
                </a:moveTo>
                <a:lnTo>
                  <a:pt x="184404" y="111252"/>
                </a:lnTo>
                <a:lnTo>
                  <a:pt x="182880" y="109728"/>
                </a:lnTo>
                <a:lnTo>
                  <a:pt x="498348" y="109728"/>
                </a:lnTo>
                <a:lnTo>
                  <a:pt x="496824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2" name="object 152"/>
          <p:cNvSpPr/>
          <p:nvPr/>
        </p:nvSpPr>
        <p:spPr>
          <a:xfrm>
            <a:off x="7204038" y="4573345"/>
            <a:ext cx="566457" cy="96931"/>
          </a:xfrm>
          <a:custGeom>
            <a:avLst/>
            <a:gdLst/>
            <a:ahLst/>
            <a:cxnLst/>
            <a:rect l="l" t="t" r="r" b="b"/>
            <a:pathLst>
              <a:path w="641984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3" name="object 153"/>
          <p:cNvSpPr/>
          <p:nvPr/>
        </p:nvSpPr>
        <p:spPr>
          <a:xfrm>
            <a:off x="7186557" y="4566621"/>
            <a:ext cx="601196" cy="109257"/>
          </a:xfrm>
          <a:custGeom>
            <a:avLst/>
            <a:gdLst/>
            <a:ahLst/>
            <a:cxnLst/>
            <a:rect l="l" t="t" r="r" b="b"/>
            <a:pathLst>
              <a:path w="681354" h="123825">
                <a:moveTo>
                  <a:pt x="499872" y="123444"/>
                </a:moveTo>
                <a:lnTo>
                  <a:pt x="181356" y="123444"/>
                </a:lnTo>
                <a:lnTo>
                  <a:pt x="0" y="62484"/>
                </a:lnTo>
                <a:lnTo>
                  <a:pt x="181356" y="0"/>
                </a:lnTo>
                <a:lnTo>
                  <a:pt x="499872" y="0"/>
                </a:lnTo>
                <a:lnTo>
                  <a:pt x="539681" y="13716"/>
                </a:lnTo>
                <a:lnTo>
                  <a:pt x="184404" y="13716"/>
                </a:lnTo>
                <a:lnTo>
                  <a:pt x="57573" y="56388"/>
                </a:lnTo>
                <a:lnTo>
                  <a:pt x="21336" y="56388"/>
                </a:lnTo>
                <a:lnTo>
                  <a:pt x="21336" y="68580"/>
                </a:lnTo>
                <a:lnTo>
                  <a:pt x="57573" y="68580"/>
                </a:lnTo>
                <a:lnTo>
                  <a:pt x="184404" y="111252"/>
                </a:lnTo>
                <a:lnTo>
                  <a:pt x="536143" y="111252"/>
                </a:lnTo>
                <a:lnTo>
                  <a:pt x="499872" y="123444"/>
                </a:lnTo>
                <a:close/>
              </a:path>
              <a:path w="681354" h="123825">
                <a:moveTo>
                  <a:pt x="641773" y="62484"/>
                </a:moveTo>
                <a:lnTo>
                  <a:pt x="496824" y="13716"/>
                </a:lnTo>
                <a:lnTo>
                  <a:pt x="539681" y="13716"/>
                </a:lnTo>
                <a:lnTo>
                  <a:pt x="663534" y="56388"/>
                </a:lnTo>
                <a:lnTo>
                  <a:pt x="659892" y="56388"/>
                </a:lnTo>
                <a:lnTo>
                  <a:pt x="641773" y="62484"/>
                </a:lnTo>
                <a:close/>
              </a:path>
              <a:path w="681354" h="123825">
                <a:moveTo>
                  <a:pt x="21336" y="68580"/>
                </a:moveTo>
                <a:lnTo>
                  <a:pt x="21336" y="56388"/>
                </a:lnTo>
                <a:lnTo>
                  <a:pt x="39454" y="62484"/>
                </a:lnTo>
                <a:lnTo>
                  <a:pt x="21336" y="68580"/>
                </a:lnTo>
                <a:close/>
              </a:path>
              <a:path w="681354" h="123825">
                <a:moveTo>
                  <a:pt x="39454" y="62484"/>
                </a:moveTo>
                <a:lnTo>
                  <a:pt x="21336" y="56388"/>
                </a:lnTo>
                <a:lnTo>
                  <a:pt x="57573" y="56388"/>
                </a:lnTo>
                <a:lnTo>
                  <a:pt x="39454" y="62484"/>
                </a:lnTo>
                <a:close/>
              </a:path>
              <a:path w="681354" h="123825">
                <a:moveTo>
                  <a:pt x="659892" y="68580"/>
                </a:moveTo>
                <a:lnTo>
                  <a:pt x="641773" y="62484"/>
                </a:lnTo>
                <a:lnTo>
                  <a:pt x="659892" y="56388"/>
                </a:lnTo>
                <a:lnTo>
                  <a:pt x="659892" y="68580"/>
                </a:lnTo>
                <a:close/>
              </a:path>
              <a:path w="681354" h="123825">
                <a:moveTo>
                  <a:pt x="663092" y="68580"/>
                </a:moveTo>
                <a:lnTo>
                  <a:pt x="659892" y="68580"/>
                </a:lnTo>
                <a:lnTo>
                  <a:pt x="659892" y="56388"/>
                </a:lnTo>
                <a:lnTo>
                  <a:pt x="663534" y="56388"/>
                </a:lnTo>
                <a:lnTo>
                  <a:pt x="681228" y="62484"/>
                </a:lnTo>
                <a:lnTo>
                  <a:pt x="663092" y="68580"/>
                </a:lnTo>
                <a:close/>
              </a:path>
              <a:path w="681354" h="123825">
                <a:moveTo>
                  <a:pt x="57573" y="68580"/>
                </a:moveTo>
                <a:lnTo>
                  <a:pt x="21336" y="68580"/>
                </a:lnTo>
                <a:lnTo>
                  <a:pt x="39454" y="62484"/>
                </a:lnTo>
                <a:lnTo>
                  <a:pt x="57573" y="68580"/>
                </a:lnTo>
                <a:close/>
              </a:path>
              <a:path w="681354" h="123825">
                <a:moveTo>
                  <a:pt x="536143" y="111252"/>
                </a:moveTo>
                <a:lnTo>
                  <a:pt x="496824" y="111252"/>
                </a:lnTo>
                <a:lnTo>
                  <a:pt x="641773" y="62484"/>
                </a:lnTo>
                <a:lnTo>
                  <a:pt x="659892" y="68580"/>
                </a:lnTo>
                <a:lnTo>
                  <a:pt x="663092" y="68580"/>
                </a:lnTo>
                <a:lnTo>
                  <a:pt x="536143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4" name="object 154"/>
          <p:cNvSpPr/>
          <p:nvPr/>
        </p:nvSpPr>
        <p:spPr>
          <a:xfrm>
            <a:off x="6785835" y="4625789"/>
            <a:ext cx="566457" cy="96931"/>
          </a:xfrm>
          <a:custGeom>
            <a:avLst/>
            <a:gdLst/>
            <a:ahLst/>
            <a:cxnLst/>
            <a:rect l="l" t="t" r="r" b="b"/>
            <a:pathLst>
              <a:path w="641985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5" name="object 155"/>
          <p:cNvSpPr/>
          <p:nvPr/>
        </p:nvSpPr>
        <p:spPr>
          <a:xfrm>
            <a:off x="6768353" y="4620410"/>
            <a:ext cx="601196" cy="107576"/>
          </a:xfrm>
          <a:custGeom>
            <a:avLst/>
            <a:gdLst/>
            <a:ahLst/>
            <a:cxnLst/>
            <a:rect l="l" t="t" r="r" b="b"/>
            <a:pathLst>
              <a:path w="681354" h="121920">
                <a:moveTo>
                  <a:pt x="499872" y="121920"/>
                </a:moveTo>
                <a:lnTo>
                  <a:pt x="181356" y="121920"/>
                </a:lnTo>
                <a:lnTo>
                  <a:pt x="0" y="60960"/>
                </a:lnTo>
                <a:lnTo>
                  <a:pt x="181356" y="0"/>
                </a:lnTo>
                <a:lnTo>
                  <a:pt x="499872" y="0"/>
                </a:lnTo>
                <a:lnTo>
                  <a:pt x="536143" y="12192"/>
                </a:lnTo>
                <a:lnTo>
                  <a:pt x="184404" y="12192"/>
                </a:lnTo>
                <a:lnTo>
                  <a:pt x="57573" y="54864"/>
                </a:lnTo>
                <a:lnTo>
                  <a:pt x="21336" y="54864"/>
                </a:lnTo>
                <a:lnTo>
                  <a:pt x="21336" y="67056"/>
                </a:lnTo>
                <a:lnTo>
                  <a:pt x="57573" y="67056"/>
                </a:lnTo>
                <a:lnTo>
                  <a:pt x="184404" y="109728"/>
                </a:lnTo>
                <a:lnTo>
                  <a:pt x="536143" y="109728"/>
                </a:lnTo>
                <a:lnTo>
                  <a:pt x="499872" y="121920"/>
                </a:lnTo>
                <a:close/>
              </a:path>
              <a:path w="681354" h="121920">
                <a:moveTo>
                  <a:pt x="641773" y="60960"/>
                </a:moveTo>
                <a:lnTo>
                  <a:pt x="496824" y="12192"/>
                </a:lnTo>
                <a:lnTo>
                  <a:pt x="536143" y="12192"/>
                </a:lnTo>
                <a:lnTo>
                  <a:pt x="663092" y="54864"/>
                </a:lnTo>
                <a:lnTo>
                  <a:pt x="659892" y="54864"/>
                </a:lnTo>
                <a:lnTo>
                  <a:pt x="641773" y="60960"/>
                </a:lnTo>
                <a:close/>
              </a:path>
              <a:path w="681354" h="121920">
                <a:moveTo>
                  <a:pt x="21336" y="67056"/>
                </a:moveTo>
                <a:lnTo>
                  <a:pt x="21336" y="54864"/>
                </a:lnTo>
                <a:lnTo>
                  <a:pt x="39454" y="60960"/>
                </a:lnTo>
                <a:lnTo>
                  <a:pt x="21336" y="67056"/>
                </a:lnTo>
                <a:close/>
              </a:path>
              <a:path w="681354" h="121920">
                <a:moveTo>
                  <a:pt x="39454" y="60960"/>
                </a:moveTo>
                <a:lnTo>
                  <a:pt x="21336" y="54864"/>
                </a:lnTo>
                <a:lnTo>
                  <a:pt x="57573" y="54864"/>
                </a:lnTo>
                <a:lnTo>
                  <a:pt x="39454" y="60960"/>
                </a:lnTo>
                <a:close/>
              </a:path>
              <a:path w="681354" h="121920">
                <a:moveTo>
                  <a:pt x="659892" y="67056"/>
                </a:moveTo>
                <a:lnTo>
                  <a:pt x="641773" y="60960"/>
                </a:lnTo>
                <a:lnTo>
                  <a:pt x="659892" y="54864"/>
                </a:lnTo>
                <a:lnTo>
                  <a:pt x="659892" y="67056"/>
                </a:lnTo>
                <a:close/>
              </a:path>
              <a:path w="681354" h="121920">
                <a:moveTo>
                  <a:pt x="663092" y="67056"/>
                </a:moveTo>
                <a:lnTo>
                  <a:pt x="659892" y="67056"/>
                </a:lnTo>
                <a:lnTo>
                  <a:pt x="659892" y="54864"/>
                </a:lnTo>
                <a:lnTo>
                  <a:pt x="663092" y="54864"/>
                </a:lnTo>
                <a:lnTo>
                  <a:pt x="681228" y="60960"/>
                </a:lnTo>
                <a:lnTo>
                  <a:pt x="663092" y="67056"/>
                </a:lnTo>
                <a:close/>
              </a:path>
              <a:path w="681354" h="121920">
                <a:moveTo>
                  <a:pt x="57573" y="67056"/>
                </a:moveTo>
                <a:lnTo>
                  <a:pt x="21336" y="67056"/>
                </a:lnTo>
                <a:lnTo>
                  <a:pt x="39454" y="60960"/>
                </a:lnTo>
                <a:lnTo>
                  <a:pt x="57573" y="67056"/>
                </a:lnTo>
                <a:close/>
              </a:path>
              <a:path w="681354" h="121920">
                <a:moveTo>
                  <a:pt x="536143" y="109728"/>
                </a:moveTo>
                <a:lnTo>
                  <a:pt x="496824" y="109728"/>
                </a:lnTo>
                <a:lnTo>
                  <a:pt x="641773" y="60960"/>
                </a:lnTo>
                <a:lnTo>
                  <a:pt x="659892" y="67056"/>
                </a:lnTo>
                <a:lnTo>
                  <a:pt x="663092" y="67056"/>
                </a:lnTo>
                <a:lnTo>
                  <a:pt x="536143" y="1097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6" name="object 156"/>
          <p:cNvSpPr/>
          <p:nvPr/>
        </p:nvSpPr>
        <p:spPr>
          <a:xfrm>
            <a:off x="6785835" y="4838252"/>
            <a:ext cx="566457" cy="96931"/>
          </a:xfrm>
          <a:custGeom>
            <a:avLst/>
            <a:gdLst/>
            <a:ahLst/>
            <a:cxnLst/>
            <a:rect l="l" t="t" r="r" b="b"/>
            <a:pathLst>
              <a:path w="641985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7" name="object 157"/>
          <p:cNvSpPr/>
          <p:nvPr/>
        </p:nvSpPr>
        <p:spPr>
          <a:xfrm>
            <a:off x="6768353" y="4832872"/>
            <a:ext cx="601196" cy="107576"/>
          </a:xfrm>
          <a:custGeom>
            <a:avLst/>
            <a:gdLst/>
            <a:ahLst/>
            <a:cxnLst/>
            <a:rect l="l" t="t" r="r" b="b"/>
            <a:pathLst>
              <a:path w="681354" h="121920">
                <a:moveTo>
                  <a:pt x="499872" y="121920"/>
                </a:moveTo>
                <a:lnTo>
                  <a:pt x="181356" y="121920"/>
                </a:lnTo>
                <a:lnTo>
                  <a:pt x="0" y="60960"/>
                </a:lnTo>
                <a:lnTo>
                  <a:pt x="181356" y="0"/>
                </a:lnTo>
                <a:lnTo>
                  <a:pt x="499872" y="0"/>
                </a:lnTo>
                <a:lnTo>
                  <a:pt x="536143" y="12192"/>
                </a:lnTo>
                <a:lnTo>
                  <a:pt x="184404" y="12192"/>
                </a:lnTo>
                <a:lnTo>
                  <a:pt x="57573" y="54864"/>
                </a:lnTo>
                <a:lnTo>
                  <a:pt x="21336" y="54864"/>
                </a:lnTo>
                <a:lnTo>
                  <a:pt x="21336" y="67056"/>
                </a:lnTo>
                <a:lnTo>
                  <a:pt x="57573" y="67056"/>
                </a:lnTo>
                <a:lnTo>
                  <a:pt x="184404" y="109728"/>
                </a:lnTo>
                <a:lnTo>
                  <a:pt x="536143" y="109728"/>
                </a:lnTo>
                <a:lnTo>
                  <a:pt x="499872" y="121920"/>
                </a:lnTo>
                <a:close/>
              </a:path>
              <a:path w="681354" h="121920">
                <a:moveTo>
                  <a:pt x="641773" y="60960"/>
                </a:moveTo>
                <a:lnTo>
                  <a:pt x="496824" y="12192"/>
                </a:lnTo>
                <a:lnTo>
                  <a:pt x="536143" y="12192"/>
                </a:lnTo>
                <a:lnTo>
                  <a:pt x="663092" y="54864"/>
                </a:lnTo>
                <a:lnTo>
                  <a:pt x="659892" y="54864"/>
                </a:lnTo>
                <a:lnTo>
                  <a:pt x="641773" y="60960"/>
                </a:lnTo>
                <a:close/>
              </a:path>
              <a:path w="681354" h="121920">
                <a:moveTo>
                  <a:pt x="21336" y="67056"/>
                </a:moveTo>
                <a:lnTo>
                  <a:pt x="21336" y="54864"/>
                </a:lnTo>
                <a:lnTo>
                  <a:pt x="39454" y="60960"/>
                </a:lnTo>
                <a:lnTo>
                  <a:pt x="21336" y="67056"/>
                </a:lnTo>
                <a:close/>
              </a:path>
              <a:path w="681354" h="121920">
                <a:moveTo>
                  <a:pt x="39454" y="60960"/>
                </a:moveTo>
                <a:lnTo>
                  <a:pt x="21336" y="54864"/>
                </a:lnTo>
                <a:lnTo>
                  <a:pt x="57573" y="54864"/>
                </a:lnTo>
                <a:lnTo>
                  <a:pt x="39454" y="60960"/>
                </a:lnTo>
                <a:close/>
              </a:path>
              <a:path w="681354" h="121920">
                <a:moveTo>
                  <a:pt x="659892" y="67056"/>
                </a:moveTo>
                <a:lnTo>
                  <a:pt x="641773" y="60960"/>
                </a:lnTo>
                <a:lnTo>
                  <a:pt x="659892" y="54864"/>
                </a:lnTo>
                <a:lnTo>
                  <a:pt x="659892" y="67056"/>
                </a:lnTo>
                <a:close/>
              </a:path>
              <a:path w="681354" h="121920">
                <a:moveTo>
                  <a:pt x="663092" y="67056"/>
                </a:moveTo>
                <a:lnTo>
                  <a:pt x="659892" y="67056"/>
                </a:lnTo>
                <a:lnTo>
                  <a:pt x="659892" y="54864"/>
                </a:lnTo>
                <a:lnTo>
                  <a:pt x="663092" y="54864"/>
                </a:lnTo>
                <a:lnTo>
                  <a:pt x="681228" y="60960"/>
                </a:lnTo>
                <a:lnTo>
                  <a:pt x="663092" y="67056"/>
                </a:lnTo>
                <a:close/>
              </a:path>
              <a:path w="681354" h="121920">
                <a:moveTo>
                  <a:pt x="57573" y="67056"/>
                </a:moveTo>
                <a:lnTo>
                  <a:pt x="21336" y="67056"/>
                </a:lnTo>
                <a:lnTo>
                  <a:pt x="39454" y="60960"/>
                </a:lnTo>
                <a:lnTo>
                  <a:pt x="57573" y="67056"/>
                </a:lnTo>
                <a:close/>
              </a:path>
              <a:path w="681354" h="121920">
                <a:moveTo>
                  <a:pt x="536143" y="109728"/>
                </a:moveTo>
                <a:lnTo>
                  <a:pt x="496824" y="109728"/>
                </a:lnTo>
                <a:lnTo>
                  <a:pt x="641773" y="60960"/>
                </a:lnTo>
                <a:lnTo>
                  <a:pt x="659892" y="67056"/>
                </a:lnTo>
                <a:lnTo>
                  <a:pt x="663092" y="67056"/>
                </a:lnTo>
                <a:lnTo>
                  <a:pt x="536143" y="1097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8" name="object 158"/>
          <p:cNvSpPr/>
          <p:nvPr/>
        </p:nvSpPr>
        <p:spPr>
          <a:xfrm>
            <a:off x="6785835" y="4944484"/>
            <a:ext cx="566457" cy="96931"/>
          </a:xfrm>
          <a:custGeom>
            <a:avLst/>
            <a:gdLst/>
            <a:ahLst/>
            <a:cxnLst/>
            <a:rect l="l" t="t" r="r" b="b"/>
            <a:pathLst>
              <a:path w="641985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9" name="object 159"/>
          <p:cNvSpPr/>
          <p:nvPr/>
        </p:nvSpPr>
        <p:spPr>
          <a:xfrm>
            <a:off x="6768353" y="4937761"/>
            <a:ext cx="601196" cy="109257"/>
          </a:xfrm>
          <a:custGeom>
            <a:avLst/>
            <a:gdLst/>
            <a:ahLst/>
            <a:cxnLst/>
            <a:rect l="l" t="t" r="r" b="b"/>
            <a:pathLst>
              <a:path w="681354" h="123825">
                <a:moveTo>
                  <a:pt x="499872" y="123444"/>
                </a:moveTo>
                <a:lnTo>
                  <a:pt x="181356" y="123444"/>
                </a:lnTo>
                <a:lnTo>
                  <a:pt x="0" y="62484"/>
                </a:lnTo>
                <a:lnTo>
                  <a:pt x="181356" y="0"/>
                </a:lnTo>
                <a:lnTo>
                  <a:pt x="499872" y="0"/>
                </a:lnTo>
                <a:lnTo>
                  <a:pt x="539681" y="13716"/>
                </a:lnTo>
                <a:lnTo>
                  <a:pt x="184404" y="13716"/>
                </a:lnTo>
                <a:lnTo>
                  <a:pt x="57573" y="56388"/>
                </a:lnTo>
                <a:lnTo>
                  <a:pt x="21336" y="56388"/>
                </a:lnTo>
                <a:lnTo>
                  <a:pt x="21336" y="68580"/>
                </a:lnTo>
                <a:lnTo>
                  <a:pt x="57573" y="68580"/>
                </a:lnTo>
                <a:lnTo>
                  <a:pt x="184404" y="111252"/>
                </a:lnTo>
                <a:lnTo>
                  <a:pt x="536143" y="111252"/>
                </a:lnTo>
                <a:lnTo>
                  <a:pt x="499872" y="123444"/>
                </a:lnTo>
                <a:close/>
              </a:path>
              <a:path w="681354" h="123825">
                <a:moveTo>
                  <a:pt x="641773" y="62484"/>
                </a:moveTo>
                <a:lnTo>
                  <a:pt x="496824" y="13716"/>
                </a:lnTo>
                <a:lnTo>
                  <a:pt x="539681" y="13716"/>
                </a:lnTo>
                <a:lnTo>
                  <a:pt x="663534" y="56388"/>
                </a:lnTo>
                <a:lnTo>
                  <a:pt x="659892" y="56388"/>
                </a:lnTo>
                <a:lnTo>
                  <a:pt x="641773" y="62484"/>
                </a:lnTo>
                <a:close/>
              </a:path>
              <a:path w="681354" h="123825">
                <a:moveTo>
                  <a:pt x="21336" y="68580"/>
                </a:moveTo>
                <a:lnTo>
                  <a:pt x="21336" y="56388"/>
                </a:lnTo>
                <a:lnTo>
                  <a:pt x="39454" y="62484"/>
                </a:lnTo>
                <a:lnTo>
                  <a:pt x="21336" y="68580"/>
                </a:lnTo>
                <a:close/>
              </a:path>
              <a:path w="681354" h="123825">
                <a:moveTo>
                  <a:pt x="39454" y="62484"/>
                </a:moveTo>
                <a:lnTo>
                  <a:pt x="21336" y="56388"/>
                </a:lnTo>
                <a:lnTo>
                  <a:pt x="57573" y="56388"/>
                </a:lnTo>
                <a:lnTo>
                  <a:pt x="39454" y="62484"/>
                </a:lnTo>
                <a:close/>
              </a:path>
              <a:path w="681354" h="123825">
                <a:moveTo>
                  <a:pt x="659892" y="68580"/>
                </a:moveTo>
                <a:lnTo>
                  <a:pt x="641773" y="62484"/>
                </a:lnTo>
                <a:lnTo>
                  <a:pt x="659892" y="56388"/>
                </a:lnTo>
                <a:lnTo>
                  <a:pt x="659892" y="68580"/>
                </a:lnTo>
                <a:close/>
              </a:path>
              <a:path w="681354" h="123825">
                <a:moveTo>
                  <a:pt x="663092" y="68580"/>
                </a:moveTo>
                <a:lnTo>
                  <a:pt x="659892" y="68580"/>
                </a:lnTo>
                <a:lnTo>
                  <a:pt x="659892" y="56388"/>
                </a:lnTo>
                <a:lnTo>
                  <a:pt x="663534" y="56388"/>
                </a:lnTo>
                <a:lnTo>
                  <a:pt x="681228" y="62484"/>
                </a:lnTo>
                <a:lnTo>
                  <a:pt x="663092" y="68580"/>
                </a:lnTo>
                <a:close/>
              </a:path>
              <a:path w="681354" h="123825">
                <a:moveTo>
                  <a:pt x="57573" y="68580"/>
                </a:moveTo>
                <a:lnTo>
                  <a:pt x="21336" y="68580"/>
                </a:lnTo>
                <a:lnTo>
                  <a:pt x="39454" y="62484"/>
                </a:lnTo>
                <a:lnTo>
                  <a:pt x="57573" y="68580"/>
                </a:lnTo>
                <a:close/>
              </a:path>
              <a:path w="681354" h="123825">
                <a:moveTo>
                  <a:pt x="536143" y="111252"/>
                </a:moveTo>
                <a:lnTo>
                  <a:pt x="496824" y="111252"/>
                </a:lnTo>
                <a:lnTo>
                  <a:pt x="641773" y="62484"/>
                </a:lnTo>
                <a:lnTo>
                  <a:pt x="659892" y="68580"/>
                </a:lnTo>
                <a:lnTo>
                  <a:pt x="663092" y="68580"/>
                </a:lnTo>
                <a:lnTo>
                  <a:pt x="536143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0" name="object 160"/>
          <p:cNvSpPr/>
          <p:nvPr/>
        </p:nvSpPr>
        <p:spPr>
          <a:xfrm>
            <a:off x="7204038" y="4678232"/>
            <a:ext cx="566457" cy="98612"/>
          </a:xfrm>
          <a:custGeom>
            <a:avLst/>
            <a:gdLst/>
            <a:ahLst/>
            <a:cxnLst/>
            <a:rect l="l" t="t" r="r" b="b"/>
            <a:pathLst>
              <a:path w="641984" h="111760">
                <a:moveTo>
                  <a:pt x="478536" y="111252"/>
                </a:moveTo>
                <a:lnTo>
                  <a:pt x="163068" y="111252"/>
                </a:lnTo>
                <a:lnTo>
                  <a:pt x="0" y="56388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6388"/>
                </a:lnTo>
                <a:lnTo>
                  <a:pt x="478536" y="111252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1" name="object 161"/>
          <p:cNvSpPr/>
          <p:nvPr/>
        </p:nvSpPr>
        <p:spPr>
          <a:xfrm>
            <a:off x="7186557" y="4672854"/>
            <a:ext cx="601196" cy="109257"/>
          </a:xfrm>
          <a:custGeom>
            <a:avLst/>
            <a:gdLst/>
            <a:ahLst/>
            <a:cxnLst/>
            <a:rect l="l" t="t" r="r" b="b"/>
            <a:pathLst>
              <a:path w="681354" h="123825">
                <a:moveTo>
                  <a:pt x="499872" y="123444"/>
                </a:moveTo>
                <a:lnTo>
                  <a:pt x="181356" y="123444"/>
                </a:lnTo>
                <a:lnTo>
                  <a:pt x="0" y="62484"/>
                </a:lnTo>
                <a:lnTo>
                  <a:pt x="181356" y="0"/>
                </a:lnTo>
                <a:lnTo>
                  <a:pt x="499872" y="0"/>
                </a:lnTo>
                <a:lnTo>
                  <a:pt x="535258" y="12192"/>
                </a:lnTo>
                <a:lnTo>
                  <a:pt x="184404" y="12192"/>
                </a:lnTo>
                <a:lnTo>
                  <a:pt x="56593" y="56388"/>
                </a:lnTo>
                <a:lnTo>
                  <a:pt x="21336" y="56388"/>
                </a:lnTo>
                <a:lnTo>
                  <a:pt x="21336" y="68580"/>
                </a:lnTo>
                <a:lnTo>
                  <a:pt x="57573" y="68580"/>
                </a:lnTo>
                <a:lnTo>
                  <a:pt x="184404" y="111252"/>
                </a:lnTo>
                <a:lnTo>
                  <a:pt x="536143" y="111252"/>
                </a:lnTo>
                <a:lnTo>
                  <a:pt x="499872" y="123444"/>
                </a:lnTo>
                <a:close/>
              </a:path>
              <a:path w="681354" h="123825">
                <a:moveTo>
                  <a:pt x="498348" y="13716"/>
                </a:moveTo>
                <a:lnTo>
                  <a:pt x="182880" y="13716"/>
                </a:lnTo>
                <a:lnTo>
                  <a:pt x="184404" y="12192"/>
                </a:lnTo>
                <a:lnTo>
                  <a:pt x="496824" y="12192"/>
                </a:lnTo>
                <a:lnTo>
                  <a:pt x="498348" y="13716"/>
                </a:lnTo>
                <a:close/>
              </a:path>
              <a:path w="681354" h="123825">
                <a:moveTo>
                  <a:pt x="642021" y="62400"/>
                </a:moveTo>
                <a:lnTo>
                  <a:pt x="496824" y="12192"/>
                </a:lnTo>
                <a:lnTo>
                  <a:pt x="535258" y="12192"/>
                </a:lnTo>
                <a:lnTo>
                  <a:pt x="663534" y="56388"/>
                </a:lnTo>
                <a:lnTo>
                  <a:pt x="659892" y="56388"/>
                </a:lnTo>
                <a:lnTo>
                  <a:pt x="642021" y="62400"/>
                </a:lnTo>
                <a:close/>
              </a:path>
              <a:path w="681354" h="123825">
                <a:moveTo>
                  <a:pt x="21336" y="68580"/>
                </a:moveTo>
                <a:lnTo>
                  <a:pt x="21336" y="56388"/>
                </a:lnTo>
                <a:lnTo>
                  <a:pt x="39206" y="62400"/>
                </a:lnTo>
                <a:lnTo>
                  <a:pt x="21336" y="68580"/>
                </a:lnTo>
                <a:close/>
              </a:path>
              <a:path w="681354" h="123825">
                <a:moveTo>
                  <a:pt x="39206" y="62400"/>
                </a:moveTo>
                <a:lnTo>
                  <a:pt x="21336" y="56388"/>
                </a:lnTo>
                <a:lnTo>
                  <a:pt x="56593" y="56388"/>
                </a:lnTo>
                <a:lnTo>
                  <a:pt x="39206" y="62400"/>
                </a:lnTo>
                <a:close/>
              </a:path>
              <a:path w="681354" h="123825">
                <a:moveTo>
                  <a:pt x="659892" y="68580"/>
                </a:moveTo>
                <a:lnTo>
                  <a:pt x="642021" y="62400"/>
                </a:lnTo>
                <a:lnTo>
                  <a:pt x="659892" y="56388"/>
                </a:lnTo>
                <a:lnTo>
                  <a:pt x="659892" y="68580"/>
                </a:lnTo>
                <a:close/>
              </a:path>
              <a:path w="681354" h="123825">
                <a:moveTo>
                  <a:pt x="663092" y="68580"/>
                </a:moveTo>
                <a:lnTo>
                  <a:pt x="659892" y="68580"/>
                </a:lnTo>
                <a:lnTo>
                  <a:pt x="659892" y="56388"/>
                </a:lnTo>
                <a:lnTo>
                  <a:pt x="663534" y="56388"/>
                </a:lnTo>
                <a:lnTo>
                  <a:pt x="681228" y="62484"/>
                </a:lnTo>
                <a:lnTo>
                  <a:pt x="663092" y="68580"/>
                </a:lnTo>
                <a:close/>
              </a:path>
              <a:path w="681354" h="123825">
                <a:moveTo>
                  <a:pt x="57573" y="68580"/>
                </a:moveTo>
                <a:lnTo>
                  <a:pt x="21336" y="68580"/>
                </a:lnTo>
                <a:lnTo>
                  <a:pt x="39206" y="62400"/>
                </a:lnTo>
                <a:lnTo>
                  <a:pt x="57573" y="68580"/>
                </a:lnTo>
                <a:close/>
              </a:path>
              <a:path w="681354" h="123825">
                <a:moveTo>
                  <a:pt x="536143" y="111252"/>
                </a:moveTo>
                <a:lnTo>
                  <a:pt x="496824" y="111252"/>
                </a:lnTo>
                <a:lnTo>
                  <a:pt x="642021" y="62400"/>
                </a:lnTo>
                <a:lnTo>
                  <a:pt x="659892" y="68580"/>
                </a:lnTo>
                <a:lnTo>
                  <a:pt x="663092" y="68580"/>
                </a:lnTo>
                <a:lnTo>
                  <a:pt x="536143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2" name="object 162"/>
          <p:cNvSpPr/>
          <p:nvPr/>
        </p:nvSpPr>
        <p:spPr>
          <a:xfrm>
            <a:off x="7204038" y="4784463"/>
            <a:ext cx="566457" cy="98612"/>
          </a:xfrm>
          <a:custGeom>
            <a:avLst/>
            <a:gdLst/>
            <a:ahLst/>
            <a:cxnLst/>
            <a:rect l="l" t="t" r="r" b="b"/>
            <a:pathLst>
              <a:path w="641984" h="111760">
                <a:moveTo>
                  <a:pt x="478536" y="111252"/>
                </a:moveTo>
                <a:lnTo>
                  <a:pt x="163068" y="111252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11252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3" name="object 163"/>
          <p:cNvSpPr/>
          <p:nvPr/>
        </p:nvSpPr>
        <p:spPr>
          <a:xfrm>
            <a:off x="7186557" y="4779085"/>
            <a:ext cx="601196" cy="109257"/>
          </a:xfrm>
          <a:custGeom>
            <a:avLst/>
            <a:gdLst/>
            <a:ahLst/>
            <a:cxnLst/>
            <a:rect l="l" t="t" r="r" b="b"/>
            <a:pathLst>
              <a:path w="681354" h="123825">
                <a:moveTo>
                  <a:pt x="499872" y="123444"/>
                </a:moveTo>
                <a:lnTo>
                  <a:pt x="181356" y="123444"/>
                </a:lnTo>
                <a:lnTo>
                  <a:pt x="0" y="60960"/>
                </a:lnTo>
                <a:lnTo>
                  <a:pt x="181356" y="0"/>
                </a:lnTo>
                <a:lnTo>
                  <a:pt x="499872" y="0"/>
                </a:lnTo>
                <a:lnTo>
                  <a:pt x="536143" y="12192"/>
                </a:lnTo>
                <a:lnTo>
                  <a:pt x="184404" y="12192"/>
                </a:lnTo>
                <a:lnTo>
                  <a:pt x="53043" y="56388"/>
                </a:lnTo>
                <a:lnTo>
                  <a:pt x="21336" y="56388"/>
                </a:lnTo>
                <a:lnTo>
                  <a:pt x="21336" y="67056"/>
                </a:lnTo>
                <a:lnTo>
                  <a:pt x="53043" y="67056"/>
                </a:lnTo>
                <a:lnTo>
                  <a:pt x="184404" y="111252"/>
                </a:lnTo>
                <a:lnTo>
                  <a:pt x="535258" y="111252"/>
                </a:lnTo>
                <a:lnTo>
                  <a:pt x="499872" y="123444"/>
                </a:lnTo>
                <a:close/>
              </a:path>
              <a:path w="681354" h="123825">
                <a:moveTo>
                  <a:pt x="498348" y="13716"/>
                </a:moveTo>
                <a:lnTo>
                  <a:pt x="182880" y="13716"/>
                </a:lnTo>
                <a:lnTo>
                  <a:pt x="184404" y="12192"/>
                </a:lnTo>
                <a:lnTo>
                  <a:pt x="496824" y="12192"/>
                </a:lnTo>
                <a:lnTo>
                  <a:pt x="498348" y="13716"/>
                </a:lnTo>
                <a:close/>
              </a:path>
              <a:path w="681354" h="123825">
                <a:moveTo>
                  <a:pt x="644038" y="61722"/>
                </a:moveTo>
                <a:lnTo>
                  <a:pt x="496824" y="12192"/>
                </a:lnTo>
                <a:lnTo>
                  <a:pt x="536143" y="12192"/>
                </a:lnTo>
                <a:lnTo>
                  <a:pt x="667626" y="56388"/>
                </a:lnTo>
                <a:lnTo>
                  <a:pt x="659892" y="56388"/>
                </a:lnTo>
                <a:lnTo>
                  <a:pt x="644038" y="61722"/>
                </a:lnTo>
                <a:close/>
              </a:path>
              <a:path w="681354" h="123825">
                <a:moveTo>
                  <a:pt x="21336" y="67056"/>
                </a:moveTo>
                <a:lnTo>
                  <a:pt x="21336" y="56388"/>
                </a:lnTo>
                <a:lnTo>
                  <a:pt x="37189" y="61722"/>
                </a:lnTo>
                <a:lnTo>
                  <a:pt x="21336" y="67056"/>
                </a:lnTo>
                <a:close/>
              </a:path>
              <a:path w="681354" h="123825">
                <a:moveTo>
                  <a:pt x="37189" y="61722"/>
                </a:moveTo>
                <a:lnTo>
                  <a:pt x="21336" y="56388"/>
                </a:lnTo>
                <a:lnTo>
                  <a:pt x="53043" y="56388"/>
                </a:lnTo>
                <a:lnTo>
                  <a:pt x="37189" y="61722"/>
                </a:lnTo>
                <a:close/>
              </a:path>
              <a:path w="681354" h="123825">
                <a:moveTo>
                  <a:pt x="659892" y="67056"/>
                </a:moveTo>
                <a:lnTo>
                  <a:pt x="644038" y="61722"/>
                </a:lnTo>
                <a:lnTo>
                  <a:pt x="659892" y="56388"/>
                </a:lnTo>
                <a:lnTo>
                  <a:pt x="659892" y="67056"/>
                </a:lnTo>
                <a:close/>
              </a:path>
              <a:path w="681354" h="123825">
                <a:moveTo>
                  <a:pt x="663534" y="67056"/>
                </a:moveTo>
                <a:lnTo>
                  <a:pt x="659892" y="67056"/>
                </a:lnTo>
                <a:lnTo>
                  <a:pt x="659892" y="56388"/>
                </a:lnTo>
                <a:lnTo>
                  <a:pt x="667626" y="56388"/>
                </a:lnTo>
                <a:lnTo>
                  <a:pt x="681228" y="60960"/>
                </a:lnTo>
                <a:lnTo>
                  <a:pt x="663534" y="67056"/>
                </a:lnTo>
                <a:close/>
              </a:path>
              <a:path w="681354" h="123825">
                <a:moveTo>
                  <a:pt x="53043" y="67056"/>
                </a:moveTo>
                <a:lnTo>
                  <a:pt x="21336" y="67056"/>
                </a:lnTo>
                <a:lnTo>
                  <a:pt x="37189" y="61722"/>
                </a:lnTo>
                <a:lnTo>
                  <a:pt x="53043" y="67056"/>
                </a:lnTo>
                <a:close/>
              </a:path>
              <a:path w="681354" h="123825">
                <a:moveTo>
                  <a:pt x="535258" y="111252"/>
                </a:moveTo>
                <a:lnTo>
                  <a:pt x="496824" y="111252"/>
                </a:lnTo>
                <a:lnTo>
                  <a:pt x="644038" y="61722"/>
                </a:lnTo>
                <a:lnTo>
                  <a:pt x="659892" y="67056"/>
                </a:lnTo>
                <a:lnTo>
                  <a:pt x="663534" y="67056"/>
                </a:lnTo>
                <a:lnTo>
                  <a:pt x="535258" y="111252"/>
                </a:lnTo>
                <a:close/>
              </a:path>
              <a:path w="681354" h="123825">
                <a:moveTo>
                  <a:pt x="496824" y="111252"/>
                </a:moveTo>
                <a:lnTo>
                  <a:pt x="184404" y="111252"/>
                </a:lnTo>
                <a:lnTo>
                  <a:pt x="182880" y="109728"/>
                </a:lnTo>
                <a:lnTo>
                  <a:pt x="498348" y="109728"/>
                </a:lnTo>
                <a:lnTo>
                  <a:pt x="496824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4" name="object 164"/>
          <p:cNvSpPr/>
          <p:nvPr/>
        </p:nvSpPr>
        <p:spPr>
          <a:xfrm>
            <a:off x="7204038" y="4890695"/>
            <a:ext cx="566457" cy="98612"/>
          </a:xfrm>
          <a:custGeom>
            <a:avLst/>
            <a:gdLst/>
            <a:ahLst/>
            <a:cxnLst/>
            <a:rect l="l" t="t" r="r" b="b"/>
            <a:pathLst>
              <a:path w="641984" h="111760">
                <a:moveTo>
                  <a:pt x="478536" y="111252"/>
                </a:moveTo>
                <a:lnTo>
                  <a:pt x="163068" y="111252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11252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5" name="object 165"/>
          <p:cNvSpPr/>
          <p:nvPr/>
        </p:nvSpPr>
        <p:spPr>
          <a:xfrm>
            <a:off x="7186557" y="4885316"/>
            <a:ext cx="601196" cy="109257"/>
          </a:xfrm>
          <a:custGeom>
            <a:avLst/>
            <a:gdLst/>
            <a:ahLst/>
            <a:cxnLst/>
            <a:rect l="l" t="t" r="r" b="b"/>
            <a:pathLst>
              <a:path w="681354" h="123825">
                <a:moveTo>
                  <a:pt x="499872" y="123444"/>
                </a:moveTo>
                <a:lnTo>
                  <a:pt x="181356" y="123444"/>
                </a:lnTo>
                <a:lnTo>
                  <a:pt x="0" y="60960"/>
                </a:lnTo>
                <a:lnTo>
                  <a:pt x="181356" y="0"/>
                </a:lnTo>
                <a:lnTo>
                  <a:pt x="499872" y="0"/>
                </a:lnTo>
                <a:lnTo>
                  <a:pt x="536143" y="12192"/>
                </a:lnTo>
                <a:lnTo>
                  <a:pt x="184404" y="12192"/>
                </a:lnTo>
                <a:lnTo>
                  <a:pt x="57573" y="54864"/>
                </a:lnTo>
                <a:lnTo>
                  <a:pt x="21336" y="54864"/>
                </a:lnTo>
                <a:lnTo>
                  <a:pt x="21336" y="67056"/>
                </a:lnTo>
                <a:lnTo>
                  <a:pt x="56593" y="67056"/>
                </a:lnTo>
                <a:lnTo>
                  <a:pt x="184404" y="111252"/>
                </a:lnTo>
                <a:lnTo>
                  <a:pt x="535258" y="111252"/>
                </a:lnTo>
                <a:lnTo>
                  <a:pt x="499872" y="123444"/>
                </a:lnTo>
                <a:close/>
              </a:path>
              <a:path w="681354" h="123825">
                <a:moveTo>
                  <a:pt x="642021" y="61043"/>
                </a:moveTo>
                <a:lnTo>
                  <a:pt x="496824" y="12192"/>
                </a:lnTo>
                <a:lnTo>
                  <a:pt x="536143" y="12192"/>
                </a:lnTo>
                <a:lnTo>
                  <a:pt x="663092" y="54864"/>
                </a:lnTo>
                <a:lnTo>
                  <a:pt x="659892" y="54864"/>
                </a:lnTo>
                <a:lnTo>
                  <a:pt x="642021" y="61043"/>
                </a:lnTo>
                <a:close/>
              </a:path>
              <a:path w="681354" h="123825">
                <a:moveTo>
                  <a:pt x="21336" y="67056"/>
                </a:moveTo>
                <a:lnTo>
                  <a:pt x="21336" y="54864"/>
                </a:lnTo>
                <a:lnTo>
                  <a:pt x="39206" y="61043"/>
                </a:lnTo>
                <a:lnTo>
                  <a:pt x="21336" y="67056"/>
                </a:lnTo>
                <a:close/>
              </a:path>
              <a:path w="681354" h="123825">
                <a:moveTo>
                  <a:pt x="39206" y="61043"/>
                </a:moveTo>
                <a:lnTo>
                  <a:pt x="21336" y="54864"/>
                </a:lnTo>
                <a:lnTo>
                  <a:pt x="57573" y="54864"/>
                </a:lnTo>
                <a:lnTo>
                  <a:pt x="39206" y="61043"/>
                </a:lnTo>
                <a:close/>
              </a:path>
              <a:path w="681354" h="123825">
                <a:moveTo>
                  <a:pt x="659892" y="67056"/>
                </a:moveTo>
                <a:lnTo>
                  <a:pt x="642021" y="61043"/>
                </a:lnTo>
                <a:lnTo>
                  <a:pt x="659892" y="54864"/>
                </a:lnTo>
                <a:lnTo>
                  <a:pt x="659892" y="67056"/>
                </a:lnTo>
                <a:close/>
              </a:path>
              <a:path w="681354" h="123825">
                <a:moveTo>
                  <a:pt x="663534" y="67056"/>
                </a:moveTo>
                <a:lnTo>
                  <a:pt x="659892" y="67056"/>
                </a:lnTo>
                <a:lnTo>
                  <a:pt x="659892" y="54864"/>
                </a:lnTo>
                <a:lnTo>
                  <a:pt x="663092" y="54864"/>
                </a:lnTo>
                <a:lnTo>
                  <a:pt x="681228" y="60960"/>
                </a:lnTo>
                <a:lnTo>
                  <a:pt x="663534" y="67056"/>
                </a:lnTo>
                <a:close/>
              </a:path>
              <a:path w="681354" h="123825">
                <a:moveTo>
                  <a:pt x="56593" y="67056"/>
                </a:moveTo>
                <a:lnTo>
                  <a:pt x="21336" y="67056"/>
                </a:lnTo>
                <a:lnTo>
                  <a:pt x="39206" y="61043"/>
                </a:lnTo>
                <a:lnTo>
                  <a:pt x="56593" y="67056"/>
                </a:lnTo>
                <a:close/>
              </a:path>
              <a:path w="681354" h="123825">
                <a:moveTo>
                  <a:pt x="535258" y="111252"/>
                </a:moveTo>
                <a:lnTo>
                  <a:pt x="496824" y="111252"/>
                </a:lnTo>
                <a:lnTo>
                  <a:pt x="642021" y="61043"/>
                </a:lnTo>
                <a:lnTo>
                  <a:pt x="659892" y="67056"/>
                </a:lnTo>
                <a:lnTo>
                  <a:pt x="663534" y="67056"/>
                </a:lnTo>
                <a:lnTo>
                  <a:pt x="535258" y="111252"/>
                </a:lnTo>
                <a:close/>
              </a:path>
              <a:path w="681354" h="123825">
                <a:moveTo>
                  <a:pt x="496824" y="111252"/>
                </a:moveTo>
                <a:lnTo>
                  <a:pt x="184404" y="111252"/>
                </a:lnTo>
                <a:lnTo>
                  <a:pt x="182880" y="109728"/>
                </a:lnTo>
                <a:lnTo>
                  <a:pt x="498348" y="109728"/>
                </a:lnTo>
                <a:lnTo>
                  <a:pt x="496824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6" name="object 166"/>
          <p:cNvSpPr/>
          <p:nvPr/>
        </p:nvSpPr>
        <p:spPr>
          <a:xfrm>
            <a:off x="7404399" y="3515060"/>
            <a:ext cx="157330" cy="158675"/>
          </a:xfrm>
          <a:prstGeom prst="rect">
            <a:avLst/>
          </a:prstGeom>
          <a:blipFill>
            <a:blip r:embed="rId8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7" name="object 167"/>
          <p:cNvSpPr/>
          <p:nvPr/>
        </p:nvSpPr>
        <p:spPr>
          <a:xfrm>
            <a:off x="6569336" y="3515060"/>
            <a:ext cx="155985" cy="158675"/>
          </a:xfrm>
          <a:prstGeom prst="rect">
            <a:avLst/>
          </a:prstGeom>
          <a:blipFill>
            <a:blip r:embed="rId8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8" name="object 168"/>
          <p:cNvSpPr/>
          <p:nvPr/>
        </p:nvSpPr>
        <p:spPr>
          <a:xfrm>
            <a:off x="6520928" y="3146612"/>
            <a:ext cx="566457" cy="96931"/>
          </a:xfrm>
          <a:custGeom>
            <a:avLst/>
            <a:gdLst/>
            <a:ahLst/>
            <a:cxnLst/>
            <a:rect l="l" t="t" r="r" b="b"/>
            <a:pathLst>
              <a:path w="641985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9" name="object 169"/>
          <p:cNvSpPr/>
          <p:nvPr/>
        </p:nvSpPr>
        <p:spPr>
          <a:xfrm>
            <a:off x="6503445" y="3141233"/>
            <a:ext cx="601196" cy="107576"/>
          </a:xfrm>
          <a:custGeom>
            <a:avLst/>
            <a:gdLst/>
            <a:ahLst/>
            <a:cxnLst/>
            <a:rect l="l" t="t" r="r" b="b"/>
            <a:pathLst>
              <a:path w="681354" h="121920">
                <a:moveTo>
                  <a:pt x="499872" y="121920"/>
                </a:moveTo>
                <a:lnTo>
                  <a:pt x="181356" y="121920"/>
                </a:lnTo>
                <a:lnTo>
                  <a:pt x="0" y="60960"/>
                </a:lnTo>
                <a:lnTo>
                  <a:pt x="181356" y="0"/>
                </a:lnTo>
                <a:lnTo>
                  <a:pt x="499872" y="0"/>
                </a:lnTo>
                <a:lnTo>
                  <a:pt x="536143" y="12192"/>
                </a:lnTo>
                <a:lnTo>
                  <a:pt x="184404" y="12192"/>
                </a:lnTo>
                <a:lnTo>
                  <a:pt x="57573" y="54864"/>
                </a:lnTo>
                <a:lnTo>
                  <a:pt x="21336" y="54864"/>
                </a:lnTo>
                <a:lnTo>
                  <a:pt x="21336" y="67056"/>
                </a:lnTo>
                <a:lnTo>
                  <a:pt x="57573" y="67056"/>
                </a:lnTo>
                <a:lnTo>
                  <a:pt x="184404" y="109728"/>
                </a:lnTo>
                <a:lnTo>
                  <a:pt x="536143" y="109728"/>
                </a:lnTo>
                <a:lnTo>
                  <a:pt x="499872" y="121920"/>
                </a:lnTo>
                <a:close/>
              </a:path>
              <a:path w="681354" h="121920">
                <a:moveTo>
                  <a:pt x="640418" y="60960"/>
                </a:moveTo>
                <a:lnTo>
                  <a:pt x="496824" y="12192"/>
                </a:lnTo>
                <a:lnTo>
                  <a:pt x="536143" y="12192"/>
                </a:lnTo>
                <a:lnTo>
                  <a:pt x="663092" y="54864"/>
                </a:lnTo>
                <a:lnTo>
                  <a:pt x="658368" y="54864"/>
                </a:lnTo>
                <a:lnTo>
                  <a:pt x="640418" y="60960"/>
                </a:lnTo>
                <a:close/>
              </a:path>
              <a:path w="681354" h="121920">
                <a:moveTo>
                  <a:pt x="21336" y="67056"/>
                </a:moveTo>
                <a:lnTo>
                  <a:pt x="21336" y="54864"/>
                </a:lnTo>
                <a:lnTo>
                  <a:pt x="39454" y="60960"/>
                </a:lnTo>
                <a:lnTo>
                  <a:pt x="21336" y="67056"/>
                </a:lnTo>
                <a:close/>
              </a:path>
              <a:path w="681354" h="121920">
                <a:moveTo>
                  <a:pt x="39454" y="60960"/>
                </a:moveTo>
                <a:lnTo>
                  <a:pt x="21336" y="54864"/>
                </a:lnTo>
                <a:lnTo>
                  <a:pt x="57573" y="54864"/>
                </a:lnTo>
                <a:lnTo>
                  <a:pt x="39454" y="60960"/>
                </a:lnTo>
                <a:close/>
              </a:path>
              <a:path w="681354" h="121920">
                <a:moveTo>
                  <a:pt x="658368" y="67056"/>
                </a:moveTo>
                <a:lnTo>
                  <a:pt x="640418" y="60960"/>
                </a:lnTo>
                <a:lnTo>
                  <a:pt x="658368" y="54864"/>
                </a:lnTo>
                <a:lnTo>
                  <a:pt x="658368" y="67056"/>
                </a:lnTo>
                <a:close/>
              </a:path>
              <a:path w="681354" h="121920">
                <a:moveTo>
                  <a:pt x="663092" y="67056"/>
                </a:moveTo>
                <a:lnTo>
                  <a:pt x="658368" y="67056"/>
                </a:lnTo>
                <a:lnTo>
                  <a:pt x="658368" y="54864"/>
                </a:lnTo>
                <a:lnTo>
                  <a:pt x="663092" y="54864"/>
                </a:lnTo>
                <a:lnTo>
                  <a:pt x="681228" y="60960"/>
                </a:lnTo>
                <a:lnTo>
                  <a:pt x="663092" y="67056"/>
                </a:lnTo>
                <a:close/>
              </a:path>
              <a:path w="681354" h="121920">
                <a:moveTo>
                  <a:pt x="57573" y="67056"/>
                </a:moveTo>
                <a:lnTo>
                  <a:pt x="21336" y="67056"/>
                </a:lnTo>
                <a:lnTo>
                  <a:pt x="39454" y="60960"/>
                </a:lnTo>
                <a:lnTo>
                  <a:pt x="57573" y="67056"/>
                </a:lnTo>
                <a:close/>
              </a:path>
              <a:path w="681354" h="121920">
                <a:moveTo>
                  <a:pt x="536143" y="109728"/>
                </a:moveTo>
                <a:lnTo>
                  <a:pt x="496824" y="109728"/>
                </a:lnTo>
                <a:lnTo>
                  <a:pt x="640418" y="60960"/>
                </a:lnTo>
                <a:lnTo>
                  <a:pt x="658368" y="67056"/>
                </a:lnTo>
                <a:lnTo>
                  <a:pt x="663092" y="67056"/>
                </a:lnTo>
                <a:lnTo>
                  <a:pt x="536143" y="1097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0" name="object 170"/>
          <p:cNvSpPr/>
          <p:nvPr/>
        </p:nvSpPr>
        <p:spPr>
          <a:xfrm>
            <a:off x="6520928" y="3252843"/>
            <a:ext cx="566457" cy="96931"/>
          </a:xfrm>
          <a:custGeom>
            <a:avLst/>
            <a:gdLst/>
            <a:ahLst/>
            <a:cxnLst/>
            <a:rect l="l" t="t" r="r" b="b"/>
            <a:pathLst>
              <a:path w="641985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1" name="object 171"/>
          <p:cNvSpPr/>
          <p:nvPr/>
        </p:nvSpPr>
        <p:spPr>
          <a:xfrm>
            <a:off x="6503445" y="3246120"/>
            <a:ext cx="601196" cy="109257"/>
          </a:xfrm>
          <a:custGeom>
            <a:avLst/>
            <a:gdLst/>
            <a:ahLst/>
            <a:cxnLst/>
            <a:rect l="l" t="t" r="r" b="b"/>
            <a:pathLst>
              <a:path w="681354" h="123825">
                <a:moveTo>
                  <a:pt x="499872" y="123444"/>
                </a:moveTo>
                <a:lnTo>
                  <a:pt x="181356" y="123444"/>
                </a:lnTo>
                <a:lnTo>
                  <a:pt x="0" y="62484"/>
                </a:lnTo>
                <a:lnTo>
                  <a:pt x="181356" y="0"/>
                </a:lnTo>
                <a:lnTo>
                  <a:pt x="499872" y="0"/>
                </a:lnTo>
                <a:lnTo>
                  <a:pt x="539681" y="13716"/>
                </a:lnTo>
                <a:lnTo>
                  <a:pt x="184404" y="13716"/>
                </a:lnTo>
                <a:lnTo>
                  <a:pt x="57573" y="56388"/>
                </a:lnTo>
                <a:lnTo>
                  <a:pt x="21336" y="56388"/>
                </a:lnTo>
                <a:lnTo>
                  <a:pt x="21336" y="68580"/>
                </a:lnTo>
                <a:lnTo>
                  <a:pt x="57573" y="68580"/>
                </a:lnTo>
                <a:lnTo>
                  <a:pt x="184404" y="111252"/>
                </a:lnTo>
                <a:lnTo>
                  <a:pt x="536143" y="111252"/>
                </a:lnTo>
                <a:lnTo>
                  <a:pt x="499872" y="123444"/>
                </a:lnTo>
                <a:close/>
              </a:path>
              <a:path w="681354" h="123825">
                <a:moveTo>
                  <a:pt x="640418" y="62484"/>
                </a:moveTo>
                <a:lnTo>
                  <a:pt x="496824" y="13716"/>
                </a:lnTo>
                <a:lnTo>
                  <a:pt x="539681" y="13716"/>
                </a:lnTo>
                <a:lnTo>
                  <a:pt x="663534" y="56388"/>
                </a:lnTo>
                <a:lnTo>
                  <a:pt x="658368" y="56388"/>
                </a:lnTo>
                <a:lnTo>
                  <a:pt x="640418" y="62484"/>
                </a:lnTo>
                <a:close/>
              </a:path>
              <a:path w="681354" h="123825">
                <a:moveTo>
                  <a:pt x="21336" y="68580"/>
                </a:moveTo>
                <a:lnTo>
                  <a:pt x="21336" y="56388"/>
                </a:lnTo>
                <a:lnTo>
                  <a:pt x="39454" y="62484"/>
                </a:lnTo>
                <a:lnTo>
                  <a:pt x="21336" y="68580"/>
                </a:lnTo>
                <a:close/>
              </a:path>
              <a:path w="681354" h="123825">
                <a:moveTo>
                  <a:pt x="39454" y="62484"/>
                </a:moveTo>
                <a:lnTo>
                  <a:pt x="21336" y="56388"/>
                </a:lnTo>
                <a:lnTo>
                  <a:pt x="57573" y="56388"/>
                </a:lnTo>
                <a:lnTo>
                  <a:pt x="39454" y="62484"/>
                </a:lnTo>
                <a:close/>
              </a:path>
              <a:path w="681354" h="123825">
                <a:moveTo>
                  <a:pt x="658368" y="68580"/>
                </a:moveTo>
                <a:lnTo>
                  <a:pt x="640418" y="62484"/>
                </a:lnTo>
                <a:lnTo>
                  <a:pt x="658368" y="56388"/>
                </a:lnTo>
                <a:lnTo>
                  <a:pt x="658368" y="68580"/>
                </a:lnTo>
                <a:close/>
              </a:path>
              <a:path w="681354" h="123825">
                <a:moveTo>
                  <a:pt x="663092" y="68580"/>
                </a:moveTo>
                <a:lnTo>
                  <a:pt x="658368" y="68580"/>
                </a:lnTo>
                <a:lnTo>
                  <a:pt x="658368" y="56388"/>
                </a:lnTo>
                <a:lnTo>
                  <a:pt x="663534" y="56388"/>
                </a:lnTo>
                <a:lnTo>
                  <a:pt x="681228" y="62484"/>
                </a:lnTo>
                <a:lnTo>
                  <a:pt x="663092" y="68580"/>
                </a:lnTo>
                <a:close/>
              </a:path>
              <a:path w="681354" h="123825">
                <a:moveTo>
                  <a:pt x="57573" y="68580"/>
                </a:moveTo>
                <a:lnTo>
                  <a:pt x="21336" y="68580"/>
                </a:lnTo>
                <a:lnTo>
                  <a:pt x="39454" y="62484"/>
                </a:lnTo>
                <a:lnTo>
                  <a:pt x="57573" y="68580"/>
                </a:lnTo>
                <a:close/>
              </a:path>
              <a:path w="681354" h="123825">
                <a:moveTo>
                  <a:pt x="536143" y="111252"/>
                </a:moveTo>
                <a:lnTo>
                  <a:pt x="496824" y="111252"/>
                </a:lnTo>
                <a:lnTo>
                  <a:pt x="640418" y="62484"/>
                </a:lnTo>
                <a:lnTo>
                  <a:pt x="658368" y="68580"/>
                </a:lnTo>
                <a:lnTo>
                  <a:pt x="663092" y="68580"/>
                </a:lnTo>
                <a:lnTo>
                  <a:pt x="536143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2" name="object 172"/>
          <p:cNvSpPr/>
          <p:nvPr/>
        </p:nvSpPr>
        <p:spPr>
          <a:xfrm>
            <a:off x="6520928" y="3357730"/>
            <a:ext cx="566457" cy="98612"/>
          </a:xfrm>
          <a:custGeom>
            <a:avLst/>
            <a:gdLst/>
            <a:ahLst/>
            <a:cxnLst/>
            <a:rect l="l" t="t" r="r" b="b"/>
            <a:pathLst>
              <a:path w="641985" h="111760">
                <a:moveTo>
                  <a:pt x="478536" y="111252"/>
                </a:moveTo>
                <a:lnTo>
                  <a:pt x="163068" y="111252"/>
                </a:lnTo>
                <a:lnTo>
                  <a:pt x="0" y="56388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6388"/>
                </a:lnTo>
                <a:lnTo>
                  <a:pt x="478536" y="111252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3" name="object 173"/>
          <p:cNvSpPr/>
          <p:nvPr/>
        </p:nvSpPr>
        <p:spPr>
          <a:xfrm>
            <a:off x="6503445" y="3352352"/>
            <a:ext cx="601196" cy="109257"/>
          </a:xfrm>
          <a:custGeom>
            <a:avLst/>
            <a:gdLst/>
            <a:ahLst/>
            <a:cxnLst/>
            <a:rect l="l" t="t" r="r" b="b"/>
            <a:pathLst>
              <a:path w="681354" h="123825">
                <a:moveTo>
                  <a:pt x="499872" y="123444"/>
                </a:moveTo>
                <a:lnTo>
                  <a:pt x="181356" y="123444"/>
                </a:lnTo>
                <a:lnTo>
                  <a:pt x="0" y="62484"/>
                </a:lnTo>
                <a:lnTo>
                  <a:pt x="181356" y="0"/>
                </a:lnTo>
                <a:lnTo>
                  <a:pt x="499872" y="0"/>
                </a:lnTo>
                <a:lnTo>
                  <a:pt x="535258" y="12192"/>
                </a:lnTo>
                <a:lnTo>
                  <a:pt x="184404" y="12192"/>
                </a:lnTo>
                <a:lnTo>
                  <a:pt x="56593" y="56388"/>
                </a:lnTo>
                <a:lnTo>
                  <a:pt x="21336" y="56388"/>
                </a:lnTo>
                <a:lnTo>
                  <a:pt x="21336" y="68580"/>
                </a:lnTo>
                <a:lnTo>
                  <a:pt x="57573" y="68580"/>
                </a:lnTo>
                <a:lnTo>
                  <a:pt x="184404" y="111252"/>
                </a:lnTo>
                <a:lnTo>
                  <a:pt x="536143" y="111252"/>
                </a:lnTo>
                <a:lnTo>
                  <a:pt x="499872" y="123444"/>
                </a:lnTo>
                <a:close/>
              </a:path>
              <a:path w="681354" h="123825">
                <a:moveTo>
                  <a:pt x="498348" y="13716"/>
                </a:moveTo>
                <a:lnTo>
                  <a:pt x="182880" y="13716"/>
                </a:lnTo>
                <a:lnTo>
                  <a:pt x="184404" y="12192"/>
                </a:lnTo>
                <a:lnTo>
                  <a:pt x="496824" y="12192"/>
                </a:lnTo>
                <a:lnTo>
                  <a:pt x="498348" y="13716"/>
                </a:lnTo>
                <a:close/>
              </a:path>
              <a:path w="681354" h="123825">
                <a:moveTo>
                  <a:pt x="640664" y="62400"/>
                </a:moveTo>
                <a:lnTo>
                  <a:pt x="496824" y="12192"/>
                </a:lnTo>
                <a:lnTo>
                  <a:pt x="535258" y="12192"/>
                </a:lnTo>
                <a:lnTo>
                  <a:pt x="663534" y="56388"/>
                </a:lnTo>
                <a:lnTo>
                  <a:pt x="658368" y="56388"/>
                </a:lnTo>
                <a:lnTo>
                  <a:pt x="640664" y="62400"/>
                </a:lnTo>
                <a:close/>
              </a:path>
              <a:path w="681354" h="123825">
                <a:moveTo>
                  <a:pt x="21336" y="68580"/>
                </a:moveTo>
                <a:lnTo>
                  <a:pt x="21336" y="56388"/>
                </a:lnTo>
                <a:lnTo>
                  <a:pt x="39206" y="62400"/>
                </a:lnTo>
                <a:lnTo>
                  <a:pt x="21336" y="68580"/>
                </a:lnTo>
                <a:close/>
              </a:path>
              <a:path w="681354" h="123825">
                <a:moveTo>
                  <a:pt x="39206" y="62400"/>
                </a:moveTo>
                <a:lnTo>
                  <a:pt x="21336" y="56388"/>
                </a:lnTo>
                <a:lnTo>
                  <a:pt x="56593" y="56388"/>
                </a:lnTo>
                <a:lnTo>
                  <a:pt x="39206" y="62400"/>
                </a:lnTo>
                <a:close/>
              </a:path>
              <a:path w="681354" h="123825">
                <a:moveTo>
                  <a:pt x="658368" y="68580"/>
                </a:moveTo>
                <a:lnTo>
                  <a:pt x="640664" y="62400"/>
                </a:lnTo>
                <a:lnTo>
                  <a:pt x="658368" y="56388"/>
                </a:lnTo>
                <a:lnTo>
                  <a:pt x="658368" y="68580"/>
                </a:lnTo>
                <a:close/>
              </a:path>
              <a:path w="681354" h="123825">
                <a:moveTo>
                  <a:pt x="663092" y="68580"/>
                </a:moveTo>
                <a:lnTo>
                  <a:pt x="658368" y="68580"/>
                </a:lnTo>
                <a:lnTo>
                  <a:pt x="658368" y="56388"/>
                </a:lnTo>
                <a:lnTo>
                  <a:pt x="663534" y="56388"/>
                </a:lnTo>
                <a:lnTo>
                  <a:pt x="681228" y="62484"/>
                </a:lnTo>
                <a:lnTo>
                  <a:pt x="663092" y="68580"/>
                </a:lnTo>
                <a:close/>
              </a:path>
              <a:path w="681354" h="123825">
                <a:moveTo>
                  <a:pt x="57573" y="68580"/>
                </a:moveTo>
                <a:lnTo>
                  <a:pt x="21336" y="68580"/>
                </a:lnTo>
                <a:lnTo>
                  <a:pt x="39206" y="62400"/>
                </a:lnTo>
                <a:lnTo>
                  <a:pt x="57573" y="68580"/>
                </a:lnTo>
                <a:close/>
              </a:path>
              <a:path w="681354" h="123825">
                <a:moveTo>
                  <a:pt x="536143" y="111252"/>
                </a:moveTo>
                <a:lnTo>
                  <a:pt x="496824" y="111252"/>
                </a:lnTo>
                <a:lnTo>
                  <a:pt x="640664" y="62400"/>
                </a:lnTo>
                <a:lnTo>
                  <a:pt x="658368" y="68580"/>
                </a:lnTo>
                <a:lnTo>
                  <a:pt x="663092" y="68580"/>
                </a:lnTo>
                <a:lnTo>
                  <a:pt x="536143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4" name="object 174"/>
          <p:cNvSpPr/>
          <p:nvPr/>
        </p:nvSpPr>
        <p:spPr>
          <a:xfrm>
            <a:off x="6520928" y="3463961"/>
            <a:ext cx="566457" cy="98612"/>
          </a:xfrm>
          <a:custGeom>
            <a:avLst/>
            <a:gdLst/>
            <a:ahLst/>
            <a:cxnLst/>
            <a:rect l="l" t="t" r="r" b="b"/>
            <a:pathLst>
              <a:path w="641985" h="111760">
                <a:moveTo>
                  <a:pt x="478536" y="111252"/>
                </a:moveTo>
                <a:lnTo>
                  <a:pt x="163068" y="111252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11252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5" name="object 175"/>
          <p:cNvSpPr/>
          <p:nvPr/>
        </p:nvSpPr>
        <p:spPr>
          <a:xfrm>
            <a:off x="6503445" y="3458584"/>
            <a:ext cx="601196" cy="109257"/>
          </a:xfrm>
          <a:custGeom>
            <a:avLst/>
            <a:gdLst/>
            <a:ahLst/>
            <a:cxnLst/>
            <a:rect l="l" t="t" r="r" b="b"/>
            <a:pathLst>
              <a:path w="681354" h="123825">
                <a:moveTo>
                  <a:pt x="499872" y="123444"/>
                </a:moveTo>
                <a:lnTo>
                  <a:pt x="181356" y="123444"/>
                </a:lnTo>
                <a:lnTo>
                  <a:pt x="0" y="60960"/>
                </a:lnTo>
                <a:lnTo>
                  <a:pt x="181356" y="0"/>
                </a:lnTo>
                <a:lnTo>
                  <a:pt x="499872" y="0"/>
                </a:lnTo>
                <a:lnTo>
                  <a:pt x="536143" y="12192"/>
                </a:lnTo>
                <a:lnTo>
                  <a:pt x="184404" y="12192"/>
                </a:lnTo>
                <a:lnTo>
                  <a:pt x="53043" y="56388"/>
                </a:lnTo>
                <a:lnTo>
                  <a:pt x="21336" y="56388"/>
                </a:lnTo>
                <a:lnTo>
                  <a:pt x="21336" y="67056"/>
                </a:lnTo>
                <a:lnTo>
                  <a:pt x="53043" y="67056"/>
                </a:lnTo>
                <a:lnTo>
                  <a:pt x="184404" y="111252"/>
                </a:lnTo>
                <a:lnTo>
                  <a:pt x="535258" y="111252"/>
                </a:lnTo>
                <a:lnTo>
                  <a:pt x="499872" y="123444"/>
                </a:lnTo>
                <a:close/>
              </a:path>
              <a:path w="681354" h="123825">
                <a:moveTo>
                  <a:pt x="498348" y="13716"/>
                </a:moveTo>
                <a:lnTo>
                  <a:pt x="182880" y="13716"/>
                </a:lnTo>
                <a:lnTo>
                  <a:pt x="184404" y="12192"/>
                </a:lnTo>
                <a:lnTo>
                  <a:pt x="496824" y="12192"/>
                </a:lnTo>
                <a:lnTo>
                  <a:pt x="498348" y="13716"/>
                </a:lnTo>
                <a:close/>
              </a:path>
              <a:path w="681354" h="123825">
                <a:moveTo>
                  <a:pt x="642662" y="61722"/>
                </a:moveTo>
                <a:lnTo>
                  <a:pt x="496824" y="12192"/>
                </a:lnTo>
                <a:lnTo>
                  <a:pt x="536143" y="12192"/>
                </a:lnTo>
                <a:lnTo>
                  <a:pt x="667626" y="56388"/>
                </a:lnTo>
                <a:lnTo>
                  <a:pt x="658368" y="56388"/>
                </a:lnTo>
                <a:lnTo>
                  <a:pt x="642662" y="61722"/>
                </a:lnTo>
                <a:close/>
              </a:path>
              <a:path w="681354" h="123825">
                <a:moveTo>
                  <a:pt x="21336" y="67056"/>
                </a:moveTo>
                <a:lnTo>
                  <a:pt x="21336" y="56388"/>
                </a:lnTo>
                <a:lnTo>
                  <a:pt x="37189" y="61722"/>
                </a:lnTo>
                <a:lnTo>
                  <a:pt x="21336" y="67056"/>
                </a:lnTo>
                <a:close/>
              </a:path>
              <a:path w="681354" h="123825">
                <a:moveTo>
                  <a:pt x="37189" y="61722"/>
                </a:moveTo>
                <a:lnTo>
                  <a:pt x="21336" y="56388"/>
                </a:lnTo>
                <a:lnTo>
                  <a:pt x="53043" y="56388"/>
                </a:lnTo>
                <a:lnTo>
                  <a:pt x="37189" y="61722"/>
                </a:lnTo>
                <a:close/>
              </a:path>
              <a:path w="681354" h="123825">
                <a:moveTo>
                  <a:pt x="658368" y="67056"/>
                </a:moveTo>
                <a:lnTo>
                  <a:pt x="642662" y="61722"/>
                </a:lnTo>
                <a:lnTo>
                  <a:pt x="658368" y="56388"/>
                </a:lnTo>
                <a:lnTo>
                  <a:pt x="658368" y="67056"/>
                </a:lnTo>
                <a:close/>
              </a:path>
              <a:path w="681354" h="123825">
                <a:moveTo>
                  <a:pt x="663534" y="67056"/>
                </a:moveTo>
                <a:lnTo>
                  <a:pt x="658368" y="67056"/>
                </a:lnTo>
                <a:lnTo>
                  <a:pt x="658368" y="56388"/>
                </a:lnTo>
                <a:lnTo>
                  <a:pt x="667626" y="56388"/>
                </a:lnTo>
                <a:lnTo>
                  <a:pt x="681228" y="60960"/>
                </a:lnTo>
                <a:lnTo>
                  <a:pt x="663534" y="67056"/>
                </a:lnTo>
                <a:close/>
              </a:path>
              <a:path w="681354" h="123825">
                <a:moveTo>
                  <a:pt x="53043" y="67056"/>
                </a:moveTo>
                <a:lnTo>
                  <a:pt x="21336" y="67056"/>
                </a:lnTo>
                <a:lnTo>
                  <a:pt x="37189" y="61722"/>
                </a:lnTo>
                <a:lnTo>
                  <a:pt x="53043" y="67056"/>
                </a:lnTo>
                <a:close/>
              </a:path>
              <a:path w="681354" h="123825">
                <a:moveTo>
                  <a:pt x="535258" y="111252"/>
                </a:moveTo>
                <a:lnTo>
                  <a:pt x="496824" y="111252"/>
                </a:lnTo>
                <a:lnTo>
                  <a:pt x="642662" y="61722"/>
                </a:lnTo>
                <a:lnTo>
                  <a:pt x="658368" y="67056"/>
                </a:lnTo>
                <a:lnTo>
                  <a:pt x="663534" y="67056"/>
                </a:lnTo>
                <a:lnTo>
                  <a:pt x="535258" y="111252"/>
                </a:lnTo>
                <a:close/>
              </a:path>
              <a:path w="681354" h="123825">
                <a:moveTo>
                  <a:pt x="496824" y="111252"/>
                </a:moveTo>
                <a:lnTo>
                  <a:pt x="184404" y="111252"/>
                </a:lnTo>
                <a:lnTo>
                  <a:pt x="182880" y="109728"/>
                </a:lnTo>
                <a:lnTo>
                  <a:pt x="498348" y="109728"/>
                </a:lnTo>
                <a:lnTo>
                  <a:pt x="496824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6" name="object 176"/>
          <p:cNvSpPr/>
          <p:nvPr/>
        </p:nvSpPr>
        <p:spPr>
          <a:xfrm>
            <a:off x="7355990" y="3146612"/>
            <a:ext cx="566457" cy="96931"/>
          </a:xfrm>
          <a:custGeom>
            <a:avLst/>
            <a:gdLst/>
            <a:ahLst/>
            <a:cxnLst/>
            <a:rect l="l" t="t" r="r" b="b"/>
            <a:pathLst>
              <a:path w="641984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7" name="object 177"/>
          <p:cNvSpPr/>
          <p:nvPr/>
        </p:nvSpPr>
        <p:spPr>
          <a:xfrm>
            <a:off x="7338508" y="3141233"/>
            <a:ext cx="601196" cy="107576"/>
          </a:xfrm>
          <a:custGeom>
            <a:avLst/>
            <a:gdLst/>
            <a:ahLst/>
            <a:cxnLst/>
            <a:rect l="l" t="t" r="r" b="b"/>
            <a:pathLst>
              <a:path w="681354" h="121920">
                <a:moveTo>
                  <a:pt x="499872" y="121920"/>
                </a:moveTo>
                <a:lnTo>
                  <a:pt x="181356" y="121920"/>
                </a:lnTo>
                <a:lnTo>
                  <a:pt x="0" y="60960"/>
                </a:lnTo>
                <a:lnTo>
                  <a:pt x="181356" y="0"/>
                </a:lnTo>
                <a:lnTo>
                  <a:pt x="499872" y="0"/>
                </a:lnTo>
                <a:lnTo>
                  <a:pt x="536143" y="12192"/>
                </a:lnTo>
                <a:lnTo>
                  <a:pt x="184404" y="12192"/>
                </a:lnTo>
                <a:lnTo>
                  <a:pt x="58758" y="54864"/>
                </a:lnTo>
                <a:lnTo>
                  <a:pt x="22860" y="54864"/>
                </a:lnTo>
                <a:lnTo>
                  <a:pt x="22860" y="67056"/>
                </a:lnTo>
                <a:lnTo>
                  <a:pt x="58758" y="67056"/>
                </a:lnTo>
                <a:lnTo>
                  <a:pt x="184404" y="109728"/>
                </a:lnTo>
                <a:lnTo>
                  <a:pt x="536143" y="109728"/>
                </a:lnTo>
                <a:lnTo>
                  <a:pt x="499872" y="121920"/>
                </a:lnTo>
                <a:close/>
              </a:path>
              <a:path w="681354" h="121920">
                <a:moveTo>
                  <a:pt x="641773" y="60960"/>
                </a:moveTo>
                <a:lnTo>
                  <a:pt x="496824" y="12192"/>
                </a:lnTo>
                <a:lnTo>
                  <a:pt x="536143" y="12192"/>
                </a:lnTo>
                <a:lnTo>
                  <a:pt x="663092" y="54864"/>
                </a:lnTo>
                <a:lnTo>
                  <a:pt x="659892" y="54864"/>
                </a:lnTo>
                <a:lnTo>
                  <a:pt x="641773" y="60960"/>
                </a:lnTo>
                <a:close/>
              </a:path>
              <a:path w="681354" h="121920">
                <a:moveTo>
                  <a:pt x="22860" y="67056"/>
                </a:moveTo>
                <a:lnTo>
                  <a:pt x="22860" y="54864"/>
                </a:lnTo>
                <a:lnTo>
                  <a:pt x="40809" y="60960"/>
                </a:lnTo>
                <a:lnTo>
                  <a:pt x="22860" y="67056"/>
                </a:lnTo>
                <a:close/>
              </a:path>
              <a:path w="681354" h="121920">
                <a:moveTo>
                  <a:pt x="40809" y="60960"/>
                </a:moveTo>
                <a:lnTo>
                  <a:pt x="22860" y="54864"/>
                </a:lnTo>
                <a:lnTo>
                  <a:pt x="58758" y="54864"/>
                </a:lnTo>
                <a:lnTo>
                  <a:pt x="40809" y="60960"/>
                </a:lnTo>
                <a:close/>
              </a:path>
              <a:path w="681354" h="121920">
                <a:moveTo>
                  <a:pt x="659892" y="67056"/>
                </a:moveTo>
                <a:lnTo>
                  <a:pt x="641773" y="60960"/>
                </a:lnTo>
                <a:lnTo>
                  <a:pt x="659892" y="54864"/>
                </a:lnTo>
                <a:lnTo>
                  <a:pt x="659892" y="67056"/>
                </a:lnTo>
                <a:close/>
              </a:path>
              <a:path w="681354" h="121920">
                <a:moveTo>
                  <a:pt x="663092" y="67056"/>
                </a:moveTo>
                <a:lnTo>
                  <a:pt x="659892" y="67056"/>
                </a:lnTo>
                <a:lnTo>
                  <a:pt x="659892" y="54864"/>
                </a:lnTo>
                <a:lnTo>
                  <a:pt x="663092" y="54864"/>
                </a:lnTo>
                <a:lnTo>
                  <a:pt x="681228" y="60960"/>
                </a:lnTo>
                <a:lnTo>
                  <a:pt x="663092" y="67056"/>
                </a:lnTo>
                <a:close/>
              </a:path>
              <a:path w="681354" h="121920">
                <a:moveTo>
                  <a:pt x="58758" y="67056"/>
                </a:moveTo>
                <a:lnTo>
                  <a:pt x="22860" y="67056"/>
                </a:lnTo>
                <a:lnTo>
                  <a:pt x="40809" y="60960"/>
                </a:lnTo>
                <a:lnTo>
                  <a:pt x="58758" y="67056"/>
                </a:lnTo>
                <a:close/>
              </a:path>
              <a:path w="681354" h="121920">
                <a:moveTo>
                  <a:pt x="536143" y="109728"/>
                </a:moveTo>
                <a:lnTo>
                  <a:pt x="496824" y="109728"/>
                </a:lnTo>
                <a:lnTo>
                  <a:pt x="641773" y="60960"/>
                </a:lnTo>
                <a:lnTo>
                  <a:pt x="659892" y="67056"/>
                </a:lnTo>
                <a:lnTo>
                  <a:pt x="663092" y="67056"/>
                </a:lnTo>
                <a:lnTo>
                  <a:pt x="536143" y="1097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8" name="object 178"/>
          <p:cNvSpPr/>
          <p:nvPr/>
        </p:nvSpPr>
        <p:spPr>
          <a:xfrm>
            <a:off x="6939131" y="3199056"/>
            <a:ext cx="564776" cy="96931"/>
          </a:xfrm>
          <a:custGeom>
            <a:avLst/>
            <a:gdLst/>
            <a:ahLst/>
            <a:cxnLst/>
            <a:rect l="l" t="t" r="r" b="b"/>
            <a:pathLst>
              <a:path w="640079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0080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9" name="object 179"/>
          <p:cNvSpPr/>
          <p:nvPr/>
        </p:nvSpPr>
        <p:spPr>
          <a:xfrm>
            <a:off x="6921649" y="3193677"/>
            <a:ext cx="600075" cy="109257"/>
          </a:xfrm>
          <a:custGeom>
            <a:avLst/>
            <a:gdLst/>
            <a:ahLst/>
            <a:cxnLst/>
            <a:rect l="l" t="t" r="r" b="b"/>
            <a:pathLst>
              <a:path w="680084" h="123825">
                <a:moveTo>
                  <a:pt x="498348" y="123444"/>
                </a:moveTo>
                <a:lnTo>
                  <a:pt x="181356" y="123444"/>
                </a:lnTo>
                <a:lnTo>
                  <a:pt x="0" y="60960"/>
                </a:lnTo>
                <a:lnTo>
                  <a:pt x="181356" y="0"/>
                </a:lnTo>
                <a:lnTo>
                  <a:pt x="498348" y="0"/>
                </a:lnTo>
                <a:lnTo>
                  <a:pt x="534619" y="12192"/>
                </a:lnTo>
                <a:lnTo>
                  <a:pt x="184404" y="12192"/>
                </a:lnTo>
                <a:lnTo>
                  <a:pt x="57573" y="54864"/>
                </a:lnTo>
                <a:lnTo>
                  <a:pt x="21336" y="54864"/>
                </a:lnTo>
                <a:lnTo>
                  <a:pt x="21336" y="67056"/>
                </a:lnTo>
                <a:lnTo>
                  <a:pt x="56593" y="67056"/>
                </a:lnTo>
                <a:lnTo>
                  <a:pt x="184404" y="111252"/>
                </a:lnTo>
                <a:lnTo>
                  <a:pt x="533734" y="111252"/>
                </a:lnTo>
                <a:lnTo>
                  <a:pt x="498348" y="123444"/>
                </a:lnTo>
                <a:close/>
              </a:path>
              <a:path w="680084" h="123825">
                <a:moveTo>
                  <a:pt x="640497" y="61043"/>
                </a:moveTo>
                <a:lnTo>
                  <a:pt x="495300" y="12192"/>
                </a:lnTo>
                <a:lnTo>
                  <a:pt x="534619" y="12192"/>
                </a:lnTo>
                <a:lnTo>
                  <a:pt x="661568" y="54864"/>
                </a:lnTo>
                <a:lnTo>
                  <a:pt x="658368" y="54864"/>
                </a:lnTo>
                <a:lnTo>
                  <a:pt x="640497" y="61043"/>
                </a:lnTo>
                <a:close/>
              </a:path>
              <a:path w="680084" h="123825">
                <a:moveTo>
                  <a:pt x="21336" y="67056"/>
                </a:moveTo>
                <a:lnTo>
                  <a:pt x="21336" y="54864"/>
                </a:lnTo>
                <a:lnTo>
                  <a:pt x="39206" y="61043"/>
                </a:lnTo>
                <a:lnTo>
                  <a:pt x="21336" y="67056"/>
                </a:lnTo>
                <a:close/>
              </a:path>
              <a:path w="680084" h="123825">
                <a:moveTo>
                  <a:pt x="39206" y="61043"/>
                </a:moveTo>
                <a:lnTo>
                  <a:pt x="21336" y="54864"/>
                </a:lnTo>
                <a:lnTo>
                  <a:pt x="57573" y="54864"/>
                </a:lnTo>
                <a:lnTo>
                  <a:pt x="39206" y="61043"/>
                </a:lnTo>
                <a:close/>
              </a:path>
              <a:path w="680084" h="123825">
                <a:moveTo>
                  <a:pt x="658368" y="67056"/>
                </a:moveTo>
                <a:lnTo>
                  <a:pt x="640497" y="61043"/>
                </a:lnTo>
                <a:lnTo>
                  <a:pt x="658368" y="54864"/>
                </a:lnTo>
                <a:lnTo>
                  <a:pt x="658368" y="67056"/>
                </a:lnTo>
                <a:close/>
              </a:path>
              <a:path w="680084" h="123825">
                <a:moveTo>
                  <a:pt x="662010" y="67056"/>
                </a:moveTo>
                <a:lnTo>
                  <a:pt x="658368" y="67056"/>
                </a:lnTo>
                <a:lnTo>
                  <a:pt x="658368" y="54864"/>
                </a:lnTo>
                <a:lnTo>
                  <a:pt x="661568" y="54864"/>
                </a:lnTo>
                <a:lnTo>
                  <a:pt x="679704" y="60960"/>
                </a:lnTo>
                <a:lnTo>
                  <a:pt x="662010" y="67056"/>
                </a:lnTo>
                <a:close/>
              </a:path>
              <a:path w="680084" h="123825">
                <a:moveTo>
                  <a:pt x="56593" y="67056"/>
                </a:moveTo>
                <a:lnTo>
                  <a:pt x="21336" y="67056"/>
                </a:lnTo>
                <a:lnTo>
                  <a:pt x="39206" y="61043"/>
                </a:lnTo>
                <a:lnTo>
                  <a:pt x="56593" y="67056"/>
                </a:lnTo>
                <a:close/>
              </a:path>
              <a:path w="680084" h="123825">
                <a:moveTo>
                  <a:pt x="533734" y="111252"/>
                </a:moveTo>
                <a:lnTo>
                  <a:pt x="495300" y="111252"/>
                </a:lnTo>
                <a:lnTo>
                  <a:pt x="640497" y="61043"/>
                </a:lnTo>
                <a:lnTo>
                  <a:pt x="658368" y="67056"/>
                </a:lnTo>
                <a:lnTo>
                  <a:pt x="662010" y="67056"/>
                </a:lnTo>
                <a:lnTo>
                  <a:pt x="533734" y="111252"/>
                </a:lnTo>
                <a:close/>
              </a:path>
              <a:path w="680084" h="123825">
                <a:moveTo>
                  <a:pt x="495300" y="111252"/>
                </a:moveTo>
                <a:lnTo>
                  <a:pt x="184404" y="111252"/>
                </a:lnTo>
                <a:lnTo>
                  <a:pt x="182880" y="109728"/>
                </a:lnTo>
                <a:lnTo>
                  <a:pt x="498348" y="109728"/>
                </a:lnTo>
                <a:lnTo>
                  <a:pt x="495300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0" name="object 180"/>
          <p:cNvSpPr/>
          <p:nvPr/>
        </p:nvSpPr>
        <p:spPr>
          <a:xfrm>
            <a:off x="6939131" y="3305287"/>
            <a:ext cx="564776" cy="96931"/>
          </a:xfrm>
          <a:custGeom>
            <a:avLst/>
            <a:gdLst/>
            <a:ahLst/>
            <a:cxnLst/>
            <a:rect l="l" t="t" r="r" b="b"/>
            <a:pathLst>
              <a:path w="640079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0080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1" name="object 181"/>
          <p:cNvSpPr/>
          <p:nvPr/>
        </p:nvSpPr>
        <p:spPr>
          <a:xfrm>
            <a:off x="6921649" y="3299908"/>
            <a:ext cx="600075" cy="107576"/>
          </a:xfrm>
          <a:custGeom>
            <a:avLst/>
            <a:gdLst/>
            <a:ahLst/>
            <a:cxnLst/>
            <a:rect l="l" t="t" r="r" b="b"/>
            <a:pathLst>
              <a:path w="680084" h="121920">
                <a:moveTo>
                  <a:pt x="498348" y="121920"/>
                </a:moveTo>
                <a:lnTo>
                  <a:pt x="181356" y="121920"/>
                </a:lnTo>
                <a:lnTo>
                  <a:pt x="0" y="60960"/>
                </a:lnTo>
                <a:lnTo>
                  <a:pt x="181356" y="0"/>
                </a:lnTo>
                <a:lnTo>
                  <a:pt x="498348" y="0"/>
                </a:lnTo>
                <a:lnTo>
                  <a:pt x="534619" y="12192"/>
                </a:lnTo>
                <a:lnTo>
                  <a:pt x="184404" y="12192"/>
                </a:lnTo>
                <a:lnTo>
                  <a:pt x="57573" y="54864"/>
                </a:lnTo>
                <a:lnTo>
                  <a:pt x="21336" y="54864"/>
                </a:lnTo>
                <a:lnTo>
                  <a:pt x="21336" y="67056"/>
                </a:lnTo>
                <a:lnTo>
                  <a:pt x="57573" y="67056"/>
                </a:lnTo>
                <a:lnTo>
                  <a:pt x="184404" y="109728"/>
                </a:lnTo>
                <a:lnTo>
                  <a:pt x="534619" y="109728"/>
                </a:lnTo>
                <a:lnTo>
                  <a:pt x="498348" y="121920"/>
                </a:lnTo>
                <a:close/>
              </a:path>
              <a:path w="680084" h="121920">
                <a:moveTo>
                  <a:pt x="640249" y="60960"/>
                </a:moveTo>
                <a:lnTo>
                  <a:pt x="495300" y="12192"/>
                </a:lnTo>
                <a:lnTo>
                  <a:pt x="534619" y="12192"/>
                </a:lnTo>
                <a:lnTo>
                  <a:pt x="661568" y="54864"/>
                </a:lnTo>
                <a:lnTo>
                  <a:pt x="658368" y="54864"/>
                </a:lnTo>
                <a:lnTo>
                  <a:pt x="640249" y="60960"/>
                </a:lnTo>
                <a:close/>
              </a:path>
              <a:path w="680084" h="121920">
                <a:moveTo>
                  <a:pt x="21336" y="67056"/>
                </a:moveTo>
                <a:lnTo>
                  <a:pt x="21336" y="54864"/>
                </a:lnTo>
                <a:lnTo>
                  <a:pt x="39454" y="60960"/>
                </a:lnTo>
                <a:lnTo>
                  <a:pt x="21336" y="67056"/>
                </a:lnTo>
                <a:close/>
              </a:path>
              <a:path w="680084" h="121920">
                <a:moveTo>
                  <a:pt x="39454" y="60960"/>
                </a:moveTo>
                <a:lnTo>
                  <a:pt x="21336" y="54864"/>
                </a:lnTo>
                <a:lnTo>
                  <a:pt x="57573" y="54864"/>
                </a:lnTo>
                <a:lnTo>
                  <a:pt x="39454" y="60960"/>
                </a:lnTo>
                <a:close/>
              </a:path>
              <a:path w="680084" h="121920">
                <a:moveTo>
                  <a:pt x="658368" y="67056"/>
                </a:moveTo>
                <a:lnTo>
                  <a:pt x="640249" y="60960"/>
                </a:lnTo>
                <a:lnTo>
                  <a:pt x="658368" y="54864"/>
                </a:lnTo>
                <a:lnTo>
                  <a:pt x="658368" y="67056"/>
                </a:lnTo>
                <a:close/>
              </a:path>
              <a:path w="680084" h="121920">
                <a:moveTo>
                  <a:pt x="661568" y="67056"/>
                </a:moveTo>
                <a:lnTo>
                  <a:pt x="658368" y="67056"/>
                </a:lnTo>
                <a:lnTo>
                  <a:pt x="658368" y="54864"/>
                </a:lnTo>
                <a:lnTo>
                  <a:pt x="661568" y="54864"/>
                </a:lnTo>
                <a:lnTo>
                  <a:pt x="679704" y="60960"/>
                </a:lnTo>
                <a:lnTo>
                  <a:pt x="661568" y="67056"/>
                </a:lnTo>
                <a:close/>
              </a:path>
              <a:path w="680084" h="121920">
                <a:moveTo>
                  <a:pt x="57573" y="67056"/>
                </a:moveTo>
                <a:lnTo>
                  <a:pt x="21336" y="67056"/>
                </a:lnTo>
                <a:lnTo>
                  <a:pt x="39454" y="60960"/>
                </a:lnTo>
                <a:lnTo>
                  <a:pt x="57573" y="67056"/>
                </a:lnTo>
                <a:close/>
              </a:path>
              <a:path w="680084" h="121920">
                <a:moveTo>
                  <a:pt x="534619" y="109728"/>
                </a:moveTo>
                <a:lnTo>
                  <a:pt x="495300" y="109728"/>
                </a:lnTo>
                <a:lnTo>
                  <a:pt x="640249" y="60960"/>
                </a:lnTo>
                <a:lnTo>
                  <a:pt x="658368" y="67056"/>
                </a:lnTo>
                <a:lnTo>
                  <a:pt x="661568" y="67056"/>
                </a:lnTo>
                <a:lnTo>
                  <a:pt x="534619" y="1097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2" name="object 182"/>
          <p:cNvSpPr/>
          <p:nvPr/>
        </p:nvSpPr>
        <p:spPr>
          <a:xfrm>
            <a:off x="6939131" y="3411519"/>
            <a:ext cx="564776" cy="96931"/>
          </a:xfrm>
          <a:custGeom>
            <a:avLst/>
            <a:gdLst/>
            <a:ahLst/>
            <a:cxnLst/>
            <a:rect l="l" t="t" r="r" b="b"/>
            <a:pathLst>
              <a:path w="640079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0080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3" name="object 183"/>
          <p:cNvSpPr/>
          <p:nvPr/>
        </p:nvSpPr>
        <p:spPr>
          <a:xfrm>
            <a:off x="6921649" y="3406139"/>
            <a:ext cx="600075" cy="107576"/>
          </a:xfrm>
          <a:custGeom>
            <a:avLst/>
            <a:gdLst/>
            <a:ahLst/>
            <a:cxnLst/>
            <a:rect l="l" t="t" r="r" b="b"/>
            <a:pathLst>
              <a:path w="680084" h="121920">
                <a:moveTo>
                  <a:pt x="498348" y="121920"/>
                </a:moveTo>
                <a:lnTo>
                  <a:pt x="181356" y="121920"/>
                </a:lnTo>
                <a:lnTo>
                  <a:pt x="0" y="60960"/>
                </a:lnTo>
                <a:lnTo>
                  <a:pt x="181356" y="0"/>
                </a:lnTo>
                <a:lnTo>
                  <a:pt x="498348" y="0"/>
                </a:lnTo>
                <a:lnTo>
                  <a:pt x="534619" y="12192"/>
                </a:lnTo>
                <a:lnTo>
                  <a:pt x="184404" y="12192"/>
                </a:lnTo>
                <a:lnTo>
                  <a:pt x="57573" y="54864"/>
                </a:lnTo>
                <a:lnTo>
                  <a:pt x="21336" y="54864"/>
                </a:lnTo>
                <a:lnTo>
                  <a:pt x="21336" y="67056"/>
                </a:lnTo>
                <a:lnTo>
                  <a:pt x="57573" y="67056"/>
                </a:lnTo>
                <a:lnTo>
                  <a:pt x="184404" y="109728"/>
                </a:lnTo>
                <a:lnTo>
                  <a:pt x="534619" y="109728"/>
                </a:lnTo>
                <a:lnTo>
                  <a:pt x="498348" y="121920"/>
                </a:lnTo>
                <a:close/>
              </a:path>
              <a:path w="680084" h="121920">
                <a:moveTo>
                  <a:pt x="640249" y="60960"/>
                </a:moveTo>
                <a:lnTo>
                  <a:pt x="495300" y="12192"/>
                </a:lnTo>
                <a:lnTo>
                  <a:pt x="534619" y="12192"/>
                </a:lnTo>
                <a:lnTo>
                  <a:pt x="661568" y="54864"/>
                </a:lnTo>
                <a:lnTo>
                  <a:pt x="658368" y="54864"/>
                </a:lnTo>
                <a:lnTo>
                  <a:pt x="640249" y="60960"/>
                </a:lnTo>
                <a:close/>
              </a:path>
              <a:path w="680084" h="121920">
                <a:moveTo>
                  <a:pt x="21336" y="67056"/>
                </a:moveTo>
                <a:lnTo>
                  <a:pt x="21336" y="54864"/>
                </a:lnTo>
                <a:lnTo>
                  <a:pt x="39454" y="60960"/>
                </a:lnTo>
                <a:lnTo>
                  <a:pt x="21336" y="67056"/>
                </a:lnTo>
                <a:close/>
              </a:path>
              <a:path w="680084" h="121920">
                <a:moveTo>
                  <a:pt x="39454" y="60960"/>
                </a:moveTo>
                <a:lnTo>
                  <a:pt x="21336" y="54864"/>
                </a:lnTo>
                <a:lnTo>
                  <a:pt x="57573" y="54864"/>
                </a:lnTo>
                <a:lnTo>
                  <a:pt x="39454" y="60960"/>
                </a:lnTo>
                <a:close/>
              </a:path>
              <a:path w="680084" h="121920">
                <a:moveTo>
                  <a:pt x="658368" y="67056"/>
                </a:moveTo>
                <a:lnTo>
                  <a:pt x="640249" y="60960"/>
                </a:lnTo>
                <a:lnTo>
                  <a:pt x="658368" y="54864"/>
                </a:lnTo>
                <a:lnTo>
                  <a:pt x="658368" y="67056"/>
                </a:lnTo>
                <a:close/>
              </a:path>
              <a:path w="680084" h="121920">
                <a:moveTo>
                  <a:pt x="661568" y="67056"/>
                </a:moveTo>
                <a:lnTo>
                  <a:pt x="658368" y="67056"/>
                </a:lnTo>
                <a:lnTo>
                  <a:pt x="658368" y="54864"/>
                </a:lnTo>
                <a:lnTo>
                  <a:pt x="661568" y="54864"/>
                </a:lnTo>
                <a:lnTo>
                  <a:pt x="679704" y="60960"/>
                </a:lnTo>
                <a:lnTo>
                  <a:pt x="661568" y="67056"/>
                </a:lnTo>
                <a:close/>
              </a:path>
              <a:path w="680084" h="121920">
                <a:moveTo>
                  <a:pt x="57573" y="67056"/>
                </a:moveTo>
                <a:lnTo>
                  <a:pt x="21336" y="67056"/>
                </a:lnTo>
                <a:lnTo>
                  <a:pt x="39454" y="60960"/>
                </a:lnTo>
                <a:lnTo>
                  <a:pt x="57573" y="67056"/>
                </a:lnTo>
                <a:close/>
              </a:path>
              <a:path w="680084" h="121920">
                <a:moveTo>
                  <a:pt x="534619" y="109728"/>
                </a:moveTo>
                <a:lnTo>
                  <a:pt x="495300" y="109728"/>
                </a:lnTo>
                <a:lnTo>
                  <a:pt x="640249" y="60960"/>
                </a:lnTo>
                <a:lnTo>
                  <a:pt x="658368" y="67056"/>
                </a:lnTo>
                <a:lnTo>
                  <a:pt x="661568" y="67056"/>
                </a:lnTo>
                <a:lnTo>
                  <a:pt x="534619" y="1097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4" name="object 184"/>
          <p:cNvSpPr/>
          <p:nvPr/>
        </p:nvSpPr>
        <p:spPr>
          <a:xfrm>
            <a:off x="6939131" y="3517751"/>
            <a:ext cx="564776" cy="96931"/>
          </a:xfrm>
          <a:custGeom>
            <a:avLst/>
            <a:gdLst/>
            <a:ahLst/>
            <a:cxnLst/>
            <a:rect l="l" t="t" r="r" b="b"/>
            <a:pathLst>
              <a:path w="640079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0080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5" name="object 185"/>
          <p:cNvSpPr/>
          <p:nvPr/>
        </p:nvSpPr>
        <p:spPr>
          <a:xfrm>
            <a:off x="6921649" y="3512372"/>
            <a:ext cx="600075" cy="107576"/>
          </a:xfrm>
          <a:custGeom>
            <a:avLst/>
            <a:gdLst/>
            <a:ahLst/>
            <a:cxnLst/>
            <a:rect l="l" t="t" r="r" b="b"/>
            <a:pathLst>
              <a:path w="680084" h="121920">
                <a:moveTo>
                  <a:pt x="498348" y="121920"/>
                </a:moveTo>
                <a:lnTo>
                  <a:pt x="181356" y="121920"/>
                </a:lnTo>
                <a:lnTo>
                  <a:pt x="0" y="60960"/>
                </a:lnTo>
                <a:lnTo>
                  <a:pt x="181356" y="0"/>
                </a:lnTo>
                <a:lnTo>
                  <a:pt x="498348" y="0"/>
                </a:lnTo>
                <a:lnTo>
                  <a:pt x="534619" y="12192"/>
                </a:lnTo>
                <a:lnTo>
                  <a:pt x="184404" y="12192"/>
                </a:lnTo>
                <a:lnTo>
                  <a:pt x="57573" y="54864"/>
                </a:lnTo>
                <a:lnTo>
                  <a:pt x="21336" y="54864"/>
                </a:lnTo>
                <a:lnTo>
                  <a:pt x="21336" y="67056"/>
                </a:lnTo>
                <a:lnTo>
                  <a:pt x="57573" y="67056"/>
                </a:lnTo>
                <a:lnTo>
                  <a:pt x="184404" y="109728"/>
                </a:lnTo>
                <a:lnTo>
                  <a:pt x="534619" y="109728"/>
                </a:lnTo>
                <a:lnTo>
                  <a:pt x="498348" y="121920"/>
                </a:lnTo>
                <a:close/>
              </a:path>
              <a:path w="680084" h="121920">
                <a:moveTo>
                  <a:pt x="640249" y="60960"/>
                </a:moveTo>
                <a:lnTo>
                  <a:pt x="495300" y="12192"/>
                </a:lnTo>
                <a:lnTo>
                  <a:pt x="534619" y="12192"/>
                </a:lnTo>
                <a:lnTo>
                  <a:pt x="661568" y="54864"/>
                </a:lnTo>
                <a:lnTo>
                  <a:pt x="658368" y="54864"/>
                </a:lnTo>
                <a:lnTo>
                  <a:pt x="640249" y="60960"/>
                </a:lnTo>
                <a:close/>
              </a:path>
              <a:path w="680084" h="121920">
                <a:moveTo>
                  <a:pt x="21336" y="67056"/>
                </a:moveTo>
                <a:lnTo>
                  <a:pt x="21336" y="54864"/>
                </a:lnTo>
                <a:lnTo>
                  <a:pt x="39454" y="60960"/>
                </a:lnTo>
                <a:lnTo>
                  <a:pt x="21336" y="67056"/>
                </a:lnTo>
                <a:close/>
              </a:path>
              <a:path w="680084" h="121920">
                <a:moveTo>
                  <a:pt x="39454" y="60960"/>
                </a:moveTo>
                <a:lnTo>
                  <a:pt x="21336" y="54864"/>
                </a:lnTo>
                <a:lnTo>
                  <a:pt x="57573" y="54864"/>
                </a:lnTo>
                <a:lnTo>
                  <a:pt x="39454" y="60960"/>
                </a:lnTo>
                <a:close/>
              </a:path>
              <a:path w="680084" h="121920">
                <a:moveTo>
                  <a:pt x="658368" y="67056"/>
                </a:moveTo>
                <a:lnTo>
                  <a:pt x="640249" y="60960"/>
                </a:lnTo>
                <a:lnTo>
                  <a:pt x="658368" y="54864"/>
                </a:lnTo>
                <a:lnTo>
                  <a:pt x="658368" y="67056"/>
                </a:lnTo>
                <a:close/>
              </a:path>
              <a:path w="680084" h="121920">
                <a:moveTo>
                  <a:pt x="661568" y="67056"/>
                </a:moveTo>
                <a:lnTo>
                  <a:pt x="658368" y="67056"/>
                </a:lnTo>
                <a:lnTo>
                  <a:pt x="658368" y="54864"/>
                </a:lnTo>
                <a:lnTo>
                  <a:pt x="661568" y="54864"/>
                </a:lnTo>
                <a:lnTo>
                  <a:pt x="679704" y="60960"/>
                </a:lnTo>
                <a:lnTo>
                  <a:pt x="661568" y="67056"/>
                </a:lnTo>
                <a:close/>
              </a:path>
              <a:path w="680084" h="121920">
                <a:moveTo>
                  <a:pt x="57573" y="67056"/>
                </a:moveTo>
                <a:lnTo>
                  <a:pt x="21336" y="67056"/>
                </a:lnTo>
                <a:lnTo>
                  <a:pt x="39454" y="60960"/>
                </a:lnTo>
                <a:lnTo>
                  <a:pt x="57573" y="67056"/>
                </a:lnTo>
                <a:close/>
              </a:path>
              <a:path w="680084" h="121920">
                <a:moveTo>
                  <a:pt x="534619" y="109728"/>
                </a:moveTo>
                <a:lnTo>
                  <a:pt x="495300" y="109728"/>
                </a:lnTo>
                <a:lnTo>
                  <a:pt x="640249" y="60960"/>
                </a:lnTo>
                <a:lnTo>
                  <a:pt x="658368" y="67056"/>
                </a:lnTo>
                <a:lnTo>
                  <a:pt x="661568" y="67056"/>
                </a:lnTo>
                <a:lnTo>
                  <a:pt x="534619" y="1097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6" name="object 186"/>
          <p:cNvSpPr/>
          <p:nvPr/>
        </p:nvSpPr>
        <p:spPr>
          <a:xfrm>
            <a:off x="7355990" y="3252843"/>
            <a:ext cx="566457" cy="96931"/>
          </a:xfrm>
          <a:custGeom>
            <a:avLst/>
            <a:gdLst/>
            <a:ahLst/>
            <a:cxnLst/>
            <a:rect l="l" t="t" r="r" b="b"/>
            <a:pathLst>
              <a:path w="641984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7" name="object 187"/>
          <p:cNvSpPr/>
          <p:nvPr/>
        </p:nvSpPr>
        <p:spPr>
          <a:xfrm>
            <a:off x="7338508" y="3246120"/>
            <a:ext cx="601196" cy="109257"/>
          </a:xfrm>
          <a:custGeom>
            <a:avLst/>
            <a:gdLst/>
            <a:ahLst/>
            <a:cxnLst/>
            <a:rect l="l" t="t" r="r" b="b"/>
            <a:pathLst>
              <a:path w="681354" h="123825">
                <a:moveTo>
                  <a:pt x="499872" y="123444"/>
                </a:moveTo>
                <a:lnTo>
                  <a:pt x="181356" y="123444"/>
                </a:lnTo>
                <a:lnTo>
                  <a:pt x="0" y="62484"/>
                </a:lnTo>
                <a:lnTo>
                  <a:pt x="181356" y="0"/>
                </a:lnTo>
                <a:lnTo>
                  <a:pt x="499872" y="0"/>
                </a:lnTo>
                <a:lnTo>
                  <a:pt x="539681" y="13716"/>
                </a:lnTo>
                <a:lnTo>
                  <a:pt x="184404" y="13716"/>
                </a:lnTo>
                <a:lnTo>
                  <a:pt x="58758" y="56388"/>
                </a:lnTo>
                <a:lnTo>
                  <a:pt x="22860" y="56388"/>
                </a:lnTo>
                <a:lnTo>
                  <a:pt x="22860" y="68580"/>
                </a:lnTo>
                <a:lnTo>
                  <a:pt x="58758" y="68580"/>
                </a:lnTo>
                <a:lnTo>
                  <a:pt x="184404" y="111252"/>
                </a:lnTo>
                <a:lnTo>
                  <a:pt x="536143" y="111252"/>
                </a:lnTo>
                <a:lnTo>
                  <a:pt x="499872" y="123444"/>
                </a:lnTo>
                <a:close/>
              </a:path>
              <a:path w="681354" h="123825">
                <a:moveTo>
                  <a:pt x="641773" y="62484"/>
                </a:moveTo>
                <a:lnTo>
                  <a:pt x="496824" y="13716"/>
                </a:lnTo>
                <a:lnTo>
                  <a:pt x="539681" y="13716"/>
                </a:lnTo>
                <a:lnTo>
                  <a:pt x="663534" y="56388"/>
                </a:lnTo>
                <a:lnTo>
                  <a:pt x="659892" y="56388"/>
                </a:lnTo>
                <a:lnTo>
                  <a:pt x="641773" y="62484"/>
                </a:lnTo>
                <a:close/>
              </a:path>
              <a:path w="681354" h="123825">
                <a:moveTo>
                  <a:pt x="22860" y="68580"/>
                </a:moveTo>
                <a:lnTo>
                  <a:pt x="22860" y="56388"/>
                </a:lnTo>
                <a:lnTo>
                  <a:pt x="40809" y="62484"/>
                </a:lnTo>
                <a:lnTo>
                  <a:pt x="22860" y="68580"/>
                </a:lnTo>
                <a:close/>
              </a:path>
              <a:path w="681354" h="123825">
                <a:moveTo>
                  <a:pt x="40809" y="62484"/>
                </a:moveTo>
                <a:lnTo>
                  <a:pt x="22860" y="56388"/>
                </a:lnTo>
                <a:lnTo>
                  <a:pt x="58758" y="56388"/>
                </a:lnTo>
                <a:lnTo>
                  <a:pt x="40809" y="62484"/>
                </a:lnTo>
                <a:close/>
              </a:path>
              <a:path w="681354" h="123825">
                <a:moveTo>
                  <a:pt x="659892" y="68580"/>
                </a:moveTo>
                <a:lnTo>
                  <a:pt x="641773" y="62484"/>
                </a:lnTo>
                <a:lnTo>
                  <a:pt x="659892" y="56388"/>
                </a:lnTo>
                <a:lnTo>
                  <a:pt x="659892" y="68580"/>
                </a:lnTo>
                <a:close/>
              </a:path>
              <a:path w="681354" h="123825">
                <a:moveTo>
                  <a:pt x="663092" y="68580"/>
                </a:moveTo>
                <a:lnTo>
                  <a:pt x="659892" y="68580"/>
                </a:lnTo>
                <a:lnTo>
                  <a:pt x="659892" y="56388"/>
                </a:lnTo>
                <a:lnTo>
                  <a:pt x="663534" y="56388"/>
                </a:lnTo>
                <a:lnTo>
                  <a:pt x="681228" y="62484"/>
                </a:lnTo>
                <a:lnTo>
                  <a:pt x="663092" y="68580"/>
                </a:lnTo>
                <a:close/>
              </a:path>
              <a:path w="681354" h="123825">
                <a:moveTo>
                  <a:pt x="58758" y="68580"/>
                </a:moveTo>
                <a:lnTo>
                  <a:pt x="22860" y="68580"/>
                </a:lnTo>
                <a:lnTo>
                  <a:pt x="40809" y="62484"/>
                </a:lnTo>
                <a:lnTo>
                  <a:pt x="58758" y="68580"/>
                </a:lnTo>
                <a:close/>
              </a:path>
              <a:path w="681354" h="123825">
                <a:moveTo>
                  <a:pt x="536143" y="111252"/>
                </a:moveTo>
                <a:lnTo>
                  <a:pt x="496824" y="111252"/>
                </a:lnTo>
                <a:lnTo>
                  <a:pt x="641773" y="62484"/>
                </a:lnTo>
                <a:lnTo>
                  <a:pt x="659892" y="68580"/>
                </a:lnTo>
                <a:lnTo>
                  <a:pt x="663092" y="68580"/>
                </a:lnTo>
                <a:lnTo>
                  <a:pt x="536143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8" name="object 188"/>
          <p:cNvSpPr/>
          <p:nvPr/>
        </p:nvSpPr>
        <p:spPr>
          <a:xfrm>
            <a:off x="7355990" y="3357730"/>
            <a:ext cx="566457" cy="98612"/>
          </a:xfrm>
          <a:custGeom>
            <a:avLst/>
            <a:gdLst/>
            <a:ahLst/>
            <a:cxnLst/>
            <a:rect l="l" t="t" r="r" b="b"/>
            <a:pathLst>
              <a:path w="641984" h="111760">
                <a:moveTo>
                  <a:pt x="478536" y="111252"/>
                </a:moveTo>
                <a:lnTo>
                  <a:pt x="163068" y="111252"/>
                </a:lnTo>
                <a:lnTo>
                  <a:pt x="0" y="56388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6388"/>
                </a:lnTo>
                <a:lnTo>
                  <a:pt x="478536" y="111252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9" name="object 189"/>
          <p:cNvSpPr/>
          <p:nvPr/>
        </p:nvSpPr>
        <p:spPr>
          <a:xfrm>
            <a:off x="7338508" y="3352352"/>
            <a:ext cx="601196" cy="109257"/>
          </a:xfrm>
          <a:custGeom>
            <a:avLst/>
            <a:gdLst/>
            <a:ahLst/>
            <a:cxnLst/>
            <a:rect l="l" t="t" r="r" b="b"/>
            <a:pathLst>
              <a:path w="681354" h="123825">
                <a:moveTo>
                  <a:pt x="499872" y="123444"/>
                </a:moveTo>
                <a:lnTo>
                  <a:pt x="181356" y="123444"/>
                </a:lnTo>
                <a:lnTo>
                  <a:pt x="0" y="62484"/>
                </a:lnTo>
                <a:lnTo>
                  <a:pt x="181356" y="0"/>
                </a:lnTo>
                <a:lnTo>
                  <a:pt x="499872" y="0"/>
                </a:lnTo>
                <a:lnTo>
                  <a:pt x="535258" y="12192"/>
                </a:lnTo>
                <a:lnTo>
                  <a:pt x="184404" y="12192"/>
                </a:lnTo>
                <a:lnTo>
                  <a:pt x="57788" y="56388"/>
                </a:lnTo>
                <a:lnTo>
                  <a:pt x="22860" y="56388"/>
                </a:lnTo>
                <a:lnTo>
                  <a:pt x="22860" y="68580"/>
                </a:lnTo>
                <a:lnTo>
                  <a:pt x="58758" y="68580"/>
                </a:lnTo>
                <a:lnTo>
                  <a:pt x="184404" y="111252"/>
                </a:lnTo>
                <a:lnTo>
                  <a:pt x="536143" y="111252"/>
                </a:lnTo>
                <a:lnTo>
                  <a:pt x="499872" y="123444"/>
                </a:lnTo>
                <a:close/>
              </a:path>
              <a:path w="681354" h="123825">
                <a:moveTo>
                  <a:pt x="498348" y="13716"/>
                </a:moveTo>
                <a:lnTo>
                  <a:pt x="182880" y="13716"/>
                </a:lnTo>
                <a:lnTo>
                  <a:pt x="184404" y="12192"/>
                </a:lnTo>
                <a:lnTo>
                  <a:pt x="496824" y="12192"/>
                </a:lnTo>
                <a:lnTo>
                  <a:pt x="498348" y="13716"/>
                </a:lnTo>
                <a:close/>
              </a:path>
              <a:path w="681354" h="123825">
                <a:moveTo>
                  <a:pt x="642021" y="62400"/>
                </a:moveTo>
                <a:lnTo>
                  <a:pt x="496824" y="12192"/>
                </a:lnTo>
                <a:lnTo>
                  <a:pt x="535258" y="12192"/>
                </a:lnTo>
                <a:lnTo>
                  <a:pt x="663534" y="56388"/>
                </a:lnTo>
                <a:lnTo>
                  <a:pt x="659892" y="56388"/>
                </a:lnTo>
                <a:lnTo>
                  <a:pt x="642021" y="62400"/>
                </a:lnTo>
                <a:close/>
              </a:path>
              <a:path w="681354" h="123825">
                <a:moveTo>
                  <a:pt x="22860" y="68580"/>
                </a:moveTo>
                <a:lnTo>
                  <a:pt x="22860" y="56388"/>
                </a:lnTo>
                <a:lnTo>
                  <a:pt x="40563" y="62400"/>
                </a:lnTo>
                <a:lnTo>
                  <a:pt x="22860" y="68580"/>
                </a:lnTo>
                <a:close/>
              </a:path>
              <a:path w="681354" h="123825">
                <a:moveTo>
                  <a:pt x="40563" y="62400"/>
                </a:moveTo>
                <a:lnTo>
                  <a:pt x="22860" y="56388"/>
                </a:lnTo>
                <a:lnTo>
                  <a:pt x="57788" y="56388"/>
                </a:lnTo>
                <a:lnTo>
                  <a:pt x="40563" y="62400"/>
                </a:lnTo>
                <a:close/>
              </a:path>
              <a:path w="681354" h="123825">
                <a:moveTo>
                  <a:pt x="659892" y="68580"/>
                </a:moveTo>
                <a:lnTo>
                  <a:pt x="642021" y="62400"/>
                </a:lnTo>
                <a:lnTo>
                  <a:pt x="659892" y="56388"/>
                </a:lnTo>
                <a:lnTo>
                  <a:pt x="659892" y="68580"/>
                </a:lnTo>
                <a:close/>
              </a:path>
              <a:path w="681354" h="123825">
                <a:moveTo>
                  <a:pt x="663092" y="68580"/>
                </a:moveTo>
                <a:lnTo>
                  <a:pt x="659892" y="68580"/>
                </a:lnTo>
                <a:lnTo>
                  <a:pt x="659892" y="56388"/>
                </a:lnTo>
                <a:lnTo>
                  <a:pt x="663534" y="56388"/>
                </a:lnTo>
                <a:lnTo>
                  <a:pt x="681228" y="62484"/>
                </a:lnTo>
                <a:lnTo>
                  <a:pt x="663092" y="68580"/>
                </a:lnTo>
                <a:close/>
              </a:path>
              <a:path w="681354" h="123825">
                <a:moveTo>
                  <a:pt x="58758" y="68580"/>
                </a:moveTo>
                <a:lnTo>
                  <a:pt x="22860" y="68580"/>
                </a:lnTo>
                <a:lnTo>
                  <a:pt x="40563" y="62400"/>
                </a:lnTo>
                <a:lnTo>
                  <a:pt x="58758" y="68580"/>
                </a:lnTo>
                <a:close/>
              </a:path>
              <a:path w="681354" h="123825">
                <a:moveTo>
                  <a:pt x="536143" y="111252"/>
                </a:moveTo>
                <a:lnTo>
                  <a:pt x="496824" y="111252"/>
                </a:lnTo>
                <a:lnTo>
                  <a:pt x="642021" y="62400"/>
                </a:lnTo>
                <a:lnTo>
                  <a:pt x="659892" y="68580"/>
                </a:lnTo>
                <a:lnTo>
                  <a:pt x="663092" y="68580"/>
                </a:lnTo>
                <a:lnTo>
                  <a:pt x="536143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0" name="object 190"/>
          <p:cNvSpPr/>
          <p:nvPr/>
        </p:nvSpPr>
        <p:spPr>
          <a:xfrm>
            <a:off x="7355990" y="3463961"/>
            <a:ext cx="566457" cy="98612"/>
          </a:xfrm>
          <a:custGeom>
            <a:avLst/>
            <a:gdLst/>
            <a:ahLst/>
            <a:cxnLst/>
            <a:rect l="l" t="t" r="r" b="b"/>
            <a:pathLst>
              <a:path w="641984" h="111760">
                <a:moveTo>
                  <a:pt x="478536" y="111252"/>
                </a:moveTo>
                <a:lnTo>
                  <a:pt x="163068" y="111252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11252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1" name="object 191"/>
          <p:cNvSpPr/>
          <p:nvPr/>
        </p:nvSpPr>
        <p:spPr>
          <a:xfrm>
            <a:off x="7338508" y="3458584"/>
            <a:ext cx="601196" cy="109257"/>
          </a:xfrm>
          <a:custGeom>
            <a:avLst/>
            <a:gdLst/>
            <a:ahLst/>
            <a:cxnLst/>
            <a:rect l="l" t="t" r="r" b="b"/>
            <a:pathLst>
              <a:path w="681354" h="123825">
                <a:moveTo>
                  <a:pt x="499872" y="123444"/>
                </a:moveTo>
                <a:lnTo>
                  <a:pt x="181356" y="123444"/>
                </a:lnTo>
                <a:lnTo>
                  <a:pt x="0" y="60960"/>
                </a:lnTo>
                <a:lnTo>
                  <a:pt x="181356" y="0"/>
                </a:lnTo>
                <a:lnTo>
                  <a:pt x="499872" y="0"/>
                </a:lnTo>
                <a:lnTo>
                  <a:pt x="536143" y="12192"/>
                </a:lnTo>
                <a:lnTo>
                  <a:pt x="184404" y="12192"/>
                </a:lnTo>
                <a:lnTo>
                  <a:pt x="54271" y="56388"/>
                </a:lnTo>
                <a:lnTo>
                  <a:pt x="22860" y="56388"/>
                </a:lnTo>
                <a:lnTo>
                  <a:pt x="22860" y="67056"/>
                </a:lnTo>
                <a:lnTo>
                  <a:pt x="54271" y="67056"/>
                </a:lnTo>
                <a:lnTo>
                  <a:pt x="184404" y="111252"/>
                </a:lnTo>
                <a:lnTo>
                  <a:pt x="535258" y="111252"/>
                </a:lnTo>
                <a:lnTo>
                  <a:pt x="499872" y="123444"/>
                </a:lnTo>
                <a:close/>
              </a:path>
              <a:path w="681354" h="123825">
                <a:moveTo>
                  <a:pt x="498348" y="13716"/>
                </a:moveTo>
                <a:lnTo>
                  <a:pt x="182880" y="13716"/>
                </a:lnTo>
                <a:lnTo>
                  <a:pt x="184404" y="12192"/>
                </a:lnTo>
                <a:lnTo>
                  <a:pt x="496824" y="12192"/>
                </a:lnTo>
                <a:lnTo>
                  <a:pt x="498348" y="13716"/>
                </a:lnTo>
                <a:close/>
              </a:path>
              <a:path w="681354" h="123825">
                <a:moveTo>
                  <a:pt x="644038" y="61722"/>
                </a:moveTo>
                <a:lnTo>
                  <a:pt x="496824" y="12192"/>
                </a:lnTo>
                <a:lnTo>
                  <a:pt x="536143" y="12192"/>
                </a:lnTo>
                <a:lnTo>
                  <a:pt x="667626" y="56388"/>
                </a:lnTo>
                <a:lnTo>
                  <a:pt x="659892" y="56388"/>
                </a:lnTo>
                <a:lnTo>
                  <a:pt x="644038" y="61722"/>
                </a:lnTo>
                <a:close/>
              </a:path>
              <a:path w="681354" h="123825">
                <a:moveTo>
                  <a:pt x="22860" y="67056"/>
                </a:moveTo>
                <a:lnTo>
                  <a:pt x="22860" y="56388"/>
                </a:lnTo>
                <a:lnTo>
                  <a:pt x="38565" y="61722"/>
                </a:lnTo>
                <a:lnTo>
                  <a:pt x="22860" y="67056"/>
                </a:lnTo>
                <a:close/>
              </a:path>
              <a:path w="681354" h="123825">
                <a:moveTo>
                  <a:pt x="38565" y="61722"/>
                </a:moveTo>
                <a:lnTo>
                  <a:pt x="22860" y="56388"/>
                </a:lnTo>
                <a:lnTo>
                  <a:pt x="54271" y="56388"/>
                </a:lnTo>
                <a:lnTo>
                  <a:pt x="38565" y="61722"/>
                </a:lnTo>
                <a:close/>
              </a:path>
              <a:path w="681354" h="123825">
                <a:moveTo>
                  <a:pt x="659892" y="67056"/>
                </a:moveTo>
                <a:lnTo>
                  <a:pt x="644038" y="61722"/>
                </a:lnTo>
                <a:lnTo>
                  <a:pt x="659892" y="56388"/>
                </a:lnTo>
                <a:lnTo>
                  <a:pt x="659892" y="67056"/>
                </a:lnTo>
                <a:close/>
              </a:path>
              <a:path w="681354" h="123825">
                <a:moveTo>
                  <a:pt x="663534" y="67056"/>
                </a:moveTo>
                <a:lnTo>
                  <a:pt x="659892" y="67056"/>
                </a:lnTo>
                <a:lnTo>
                  <a:pt x="659892" y="56388"/>
                </a:lnTo>
                <a:lnTo>
                  <a:pt x="667626" y="56388"/>
                </a:lnTo>
                <a:lnTo>
                  <a:pt x="681228" y="60960"/>
                </a:lnTo>
                <a:lnTo>
                  <a:pt x="663534" y="67056"/>
                </a:lnTo>
                <a:close/>
              </a:path>
              <a:path w="681354" h="123825">
                <a:moveTo>
                  <a:pt x="54271" y="67056"/>
                </a:moveTo>
                <a:lnTo>
                  <a:pt x="22860" y="67056"/>
                </a:lnTo>
                <a:lnTo>
                  <a:pt x="38565" y="61722"/>
                </a:lnTo>
                <a:lnTo>
                  <a:pt x="54271" y="67056"/>
                </a:lnTo>
                <a:close/>
              </a:path>
              <a:path w="681354" h="123825">
                <a:moveTo>
                  <a:pt x="535258" y="111252"/>
                </a:moveTo>
                <a:lnTo>
                  <a:pt x="496824" y="111252"/>
                </a:lnTo>
                <a:lnTo>
                  <a:pt x="644038" y="61722"/>
                </a:lnTo>
                <a:lnTo>
                  <a:pt x="659892" y="67056"/>
                </a:lnTo>
                <a:lnTo>
                  <a:pt x="663534" y="67056"/>
                </a:lnTo>
                <a:lnTo>
                  <a:pt x="535258" y="111252"/>
                </a:lnTo>
                <a:close/>
              </a:path>
              <a:path w="681354" h="123825">
                <a:moveTo>
                  <a:pt x="496824" y="111252"/>
                </a:moveTo>
                <a:lnTo>
                  <a:pt x="184404" y="111252"/>
                </a:lnTo>
                <a:lnTo>
                  <a:pt x="182880" y="109728"/>
                </a:lnTo>
                <a:lnTo>
                  <a:pt x="498348" y="109728"/>
                </a:lnTo>
                <a:lnTo>
                  <a:pt x="496824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2" name="object 192"/>
          <p:cNvSpPr/>
          <p:nvPr/>
        </p:nvSpPr>
        <p:spPr>
          <a:xfrm>
            <a:off x="7404399" y="4469803"/>
            <a:ext cx="157330" cy="155985"/>
          </a:xfrm>
          <a:prstGeom prst="rect">
            <a:avLst/>
          </a:prstGeom>
          <a:blipFill>
            <a:blip r:embed="rId9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3" name="object 193"/>
          <p:cNvSpPr/>
          <p:nvPr/>
        </p:nvSpPr>
        <p:spPr>
          <a:xfrm>
            <a:off x="6569336" y="4469803"/>
            <a:ext cx="155985" cy="155985"/>
          </a:xfrm>
          <a:prstGeom prst="rect">
            <a:avLst/>
          </a:prstGeom>
          <a:blipFill>
            <a:blip r:embed="rId9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4" name="object 194"/>
          <p:cNvSpPr/>
          <p:nvPr/>
        </p:nvSpPr>
        <p:spPr>
          <a:xfrm>
            <a:off x="6512859" y="4095975"/>
            <a:ext cx="566457" cy="96931"/>
          </a:xfrm>
          <a:custGeom>
            <a:avLst/>
            <a:gdLst/>
            <a:ahLst/>
            <a:cxnLst/>
            <a:rect l="l" t="t" r="r" b="b"/>
            <a:pathLst>
              <a:path w="641985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5" name="object 195"/>
          <p:cNvSpPr/>
          <p:nvPr/>
        </p:nvSpPr>
        <p:spPr>
          <a:xfrm>
            <a:off x="6495378" y="4089251"/>
            <a:ext cx="601196" cy="109257"/>
          </a:xfrm>
          <a:custGeom>
            <a:avLst/>
            <a:gdLst/>
            <a:ahLst/>
            <a:cxnLst/>
            <a:rect l="l" t="t" r="r" b="b"/>
            <a:pathLst>
              <a:path w="681354" h="123825">
                <a:moveTo>
                  <a:pt x="499872" y="123444"/>
                </a:moveTo>
                <a:lnTo>
                  <a:pt x="181356" y="123444"/>
                </a:lnTo>
                <a:lnTo>
                  <a:pt x="0" y="62484"/>
                </a:lnTo>
                <a:lnTo>
                  <a:pt x="181356" y="0"/>
                </a:lnTo>
                <a:lnTo>
                  <a:pt x="499872" y="0"/>
                </a:lnTo>
                <a:lnTo>
                  <a:pt x="539681" y="13716"/>
                </a:lnTo>
                <a:lnTo>
                  <a:pt x="184404" y="13716"/>
                </a:lnTo>
                <a:lnTo>
                  <a:pt x="58758" y="56388"/>
                </a:lnTo>
                <a:lnTo>
                  <a:pt x="22860" y="56388"/>
                </a:lnTo>
                <a:lnTo>
                  <a:pt x="22860" y="68580"/>
                </a:lnTo>
                <a:lnTo>
                  <a:pt x="58758" y="68580"/>
                </a:lnTo>
                <a:lnTo>
                  <a:pt x="184404" y="111252"/>
                </a:lnTo>
                <a:lnTo>
                  <a:pt x="536143" y="111252"/>
                </a:lnTo>
                <a:lnTo>
                  <a:pt x="499872" y="123444"/>
                </a:lnTo>
                <a:close/>
              </a:path>
              <a:path w="681354" h="123825">
                <a:moveTo>
                  <a:pt x="641773" y="62484"/>
                </a:moveTo>
                <a:lnTo>
                  <a:pt x="496824" y="13716"/>
                </a:lnTo>
                <a:lnTo>
                  <a:pt x="539681" y="13716"/>
                </a:lnTo>
                <a:lnTo>
                  <a:pt x="663534" y="56388"/>
                </a:lnTo>
                <a:lnTo>
                  <a:pt x="659892" y="56388"/>
                </a:lnTo>
                <a:lnTo>
                  <a:pt x="641773" y="62484"/>
                </a:lnTo>
                <a:close/>
              </a:path>
              <a:path w="681354" h="123825">
                <a:moveTo>
                  <a:pt x="22860" y="68580"/>
                </a:moveTo>
                <a:lnTo>
                  <a:pt x="22860" y="56388"/>
                </a:lnTo>
                <a:lnTo>
                  <a:pt x="40809" y="62484"/>
                </a:lnTo>
                <a:lnTo>
                  <a:pt x="22860" y="68580"/>
                </a:lnTo>
                <a:close/>
              </a:path>
              <a:path w="681354" h="123825">
                <a:moveTo>
                  <a:pt x="40809" y="62484"/>
                </a:moveTo>
                <a:lnTo>
                  <a:pt x="22860" y="56388"/>
                </a:lnTo>
                <a:lnTo>
                  <a:pt x="58758" y="56388"/>
                </a:lnTo>
                <a:lnTo>
                  <a:pt x="40809" y="62484"/>
                </a:lnTo>
                <a:close/>
              </a:path>
              <a:path w="681354" h="123825">
                <a:moveTo>
                  <a:pt x="659892" y="68580"/>
                </a:moveTo>
                <a:lnTo>
                  <a:pt x="641773" y="62484"/>
                </a:lnTo>
                <a:lnTo>
                  <a:pt x="659892" y="56388"/>
                </a:lnTo>
                <a:lnTo>
                  <a:pt x="659892" y="68580"/>
                </a:lnTo>
                <a:close/>
              </a:path>
              <a:path w="681354" h="123825">
                <a:moveTo>
                  <a:pt x="663092" y="68580"/>
                </a:moveTo>
                <a:lnTo>
                  <a:pt x="659892" y="68580"/>
                </a:lnTo>
                <a:lnTo>
                  <a:pt x="659892" y="56388"/>
                </a:lnTo>
                <a:lnTo>
                  <a:pt x="663534" y="56388"/>
                </a:lnTo>
                <a:lnTo>
                  <a:pt x="681228" y="62484"/>
                </a:lnTo>
                <a:lnTo>
                  <a:pt x="663092" y="68580"/>
                </a:lnTo>
                <a:close/>
              </a:path>
              <a:path w="681354" h="123825">
                <a:moveTo>
                  <a:pt x="58758" y="68580"/>
                </a:moveTo>
                <a:lnTo>
                  <a:pt x="22860" y="68580"/>
                </a:lnTo>
                <a:lnTo>
                  <a:pt x="40809" y="62484"/>
                </a:lnTo>
                <a:lnTo>
                  <a:pt x="58758" y="68580"/>
                </a:lnTo>
                <a:close/>
              </a:path>
              <a:path w="681354" h="123825">
                <a:moveTo>
                  <a:pt x="536143" y="111252"/>
                </a:moveTo>
                <a:lnTo>
                  <a:pt x="496824" y="111252"/>
                </a:lnTo>
                <a:lnTo>
                  <a:pt x="641773" y="62484"/>
                </a:lnTo>
                <a:lnTo>
                  <a:pt x="659892" y="68580"/>
                </a:lnTo>
                <a:lnTo>
                  <a:pt x="663092" y="68580"/>
                </a:lnTo>
                <a:lnTo>
                  <a:pt x="536143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6" name="object 196"/>
          <p:cNvSpPr/>
          <p:nvPr/>
        </p:nvSpPr>
        <p:spPr>
          <a:xfrm>
            <a:off x="6512859" y="4202206"/>
            <a:ext cx="566457" cy="96931"/>
          </a:xfrm>
          <a:custGeom>
            <a:avLst/>
            <a:gdLst/>
            <a:ahLst/>
            <a:cxnLst/>
            <a:rect l="l" t="t" r="r" b="b"/>
            <a:pathLst>
              <a:path w="641985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7" name="object 197"/>
          <p:cNvSpPr/>
          <p:nvPr/>
        </p:nvSpPr>
        <p:spPr>
          <a:xfrm>
            <a:off x="6495378" y="4195482"/>
            <a:ext cx="601196" cy="109257"/>
          </a:xfrm>
          <a:custGeom>
            <a:avLst/>
            <a:gdLst/>
            <a:ahLst/>
            <a:cxnLst/>
            <a:rect l="l" t="t" r="r" b="b"/>
            <a:pathLst>
              <a:path w="681354" h="123825">
                <a:moveTo>
                  <a:pt x="499872" y="123444"/>
                </a:moveTo>
                <a:lnTo>
                  <a:pt x="181356" y="123444"/>
                </a:lnTo>
                <a:lnTo>
                  <a:pt x="0" y="62484"/>
                </a:lnTo>
                <a:lnTo>
                  <a:pt x="181356" y="0"/>
                </a:lnTo>
                <a:lnTo>
                  <a:pt x="499872" y="0"/>
                </a:lnTo>
                <a:lnTo>
                  <a:pt x="535258" y="12192"/>
                </a:lnTo>
                <a:lnTo>
                  <a:pt x="184404" y="12192"/>
                </a:lnTo>
                <a:lnTo>
                  <a:pt x="57788" y="56388"/>
                </a:lnTo>
                <a:lnTo>
                  <a:pt x="22860" y="56388"/>
                </a:lnTo>
                <a:lnTo>
                  <a:pt x="22860" y="68580"/>
                </a:lnTo>
                <a:lnTo>
                  <a:pt x="58758" y="68580"/>
                </a:lnTo>
                <a:lnTo>
                  <a:pt x="184404" y="111252"/>
                </a:lnTo>
                <a:lnTo>
                  <a:pt x="536143" y="111252"/>
                </a:lnTo>
                <a:lnTo>
                  <a:pt x="499872" y="123444"/>
                </a:lnTo>
                <a:close/>
              </a:path>
              <a:path w="681354" h="123825">
                <a:moveTo>
                  <a:pt x="498348" y="13716"/>
                </a:moveTo>
                <a:lnTo>
                  <a:pt x="182880" y="13716"/>
                </a:lnTo>
                <a:lnTo>
                  <a:pt x="184404" y="12192"/>
                </a:lnTo>
                <a:lnTo>
                  <a:pt x="496824" y="12192"/>
                </a:lnTo>
                <a:lnTo>
                  <a:pt x="498348" y="13716"/>
                </a:lnTo>
                <a:close/>
              </a:path>
              <a:path w="681354" h="123825">
                <a:moveTo>
                  <a:pt x="642021" y="62400"/>
                </a:moveTo>
                <a:lnTo>
                  <a:pt x="496824" y="12192"/>
                </a:lnTo>
                <a:lnTo>
                  <a:pt x="535258" y="12192"/>
                </a:lnTo>
                <a:lnTo>
                  <a:pt x="663534" y="56388"/>
                </a:lnTo>
                <a:lnTo>
                  <a:pt x="659892" y="56388"/>
                </a:lnTo>
                <a:lnTo>
                  <a:pt x="642021" y="62400"/>
                </a:lnTo>
                <a:close/>
              </a:path>
              <a:path w="681354" h="123825">
                <a:moveTo>
                  <a:pt x="22860" y="68580"/>
                </a:moveTo>
                <a:lnTo>
                  <a:pt x="22860" y="56388"/>
                </a:lnTo>
                <a:lnTo>
                  <a:pt x="40563" y="62400"/>
                </a:lnTo>
                <a:lnTo>
                  <a:pt x="22860" y="68580"/>
                </a:lnTo>
                <a:close/>
              </a:path>
              <a:path w="681354" h="123825">
                <a:moveTo>
                  <a:pt x="40563" y="62400"/>
                </a:moveTo>
                <a:lnTo>
                  <a:pt x="22860" y="56388"/>
                </a:lnTo>
                <a:lnTo>
                  <a:pt x="57788" y="56388"/>
                </a:lnTo>
                <a:lnTo>
                  <a:pt x="40563" y="62400"/>
                </a:lnTo>
                <a:close/>
              </a:path>
              <a:path w="681354" h="123825">
                <a:moveTo>
                  <a:pt x="659892" y="68580"/>
                </a:moveTo>
                <a:lnTo>
                  <a:pt x="642021" y="62400"/>
                </a:lnTo>
                <a:lnTo>
                  <a:pt x="659892" y="56388"/>
                </a:lnTo>
                <a:lnTo>
                  <a:pt x="659892" y="68580"/>
                </a:lnTo>
                <a:close/>
              </a:path>
              <a:path w="681354" h="123825">
                <a:moveTo>
                  <a:pt x="663092" y="68580"/>
                </a:moveTo>
                <a:lnTo>
                  <a:pt x="659892" y="68580"/>
                </a:lnTo>
                <a:lnTo>
                  <a:pt x="659892" y="56388"/>
                </a:lnTo>
                <a:lnTo>
                  <a:pt x="663534" y="56388"/>
                </a:lnTo>
                <a:lnTo>
                  <a:pt x="681228" y="62484"/>
                </a:lnTo>
                <a:lnTo>
                  <a:pt x="663092" y="68580"/>
                </a:lnTo>
                <a:close/>
              </a:path>
              <a:path w="681354" h="123825">
                <a:moveTo>
                  <a:pt x="58758" y="68580"/>
                </a:moveTo>
                <a:lnTo>
                  <a:pt x="22860" y="68580"/>
                </a:lnTo>
                <a:lnTo>
                  <a:pt x="40563" y="62400"/>
                </a:lnTo>
                <a:lnTo>
                  <a:pt x="58758" y="68580"/>
                </a:lnTo>
                <a:close/>
              </a:path>
              <a:path w="681354" h="123825">
                <a:moveTo>
                  <a:pt x="536143" y="111252"/>
                </a:moveTo>
                <a:lnTo>
                  <a:pt x="496824" y="111252"/>
                </a:lnTo>
                <a:lnTo>
                  <a:pt x="642021" y="62400"/>
                </a:lnTo>
                <a:lnTo>
                  <a:pt x="659892" y="68580"/>
                </a:lnTo>
                <a:lnTo>
                  <a:pt x="663092" y="68580"/>
                </a:lnTo>
                <a:lnTo>
                  <a:pt x="536143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8" name="object 198"/>
          <p:cNvSpPr/>
          <p:nvPr/>
        </p:nvSpPr>
        <p:spPr>
          <a:xfrm>
            <a:off x="6512859" y="4307093"/>
            <a:ext cx="566457" cy="98612"/>
          </a:xfrm>
          <a:custGeom>
            <a:avLst/>
            <a:gdLst/>
            <a:ahLst/>
            <a:cxnLst/>
            <a:rect l="l" t="t" r="r" b="b"/>
            <a:pathLst>
              <a:path w="641985" h="111760">
                <a:moveTo>
                  <a:pt x="478536" y="111252"/>
                </a:moveTo>
                <a:lnTo>
                  <a:pt x="163068" y="111252"/>
                </a:lnTo>
                <a:lnTo>
                  <a:pt x="0" y="56388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6388"/>
                </a:lnTo>
                <a:lnTo>
                  <a:pt x="478536" y="111252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9" name="object 199"/>
          <p:cNvSpPr/>
          <p:nvPr/>
        </p:nvSpPr>
        <p:spPr>
          <a:xfrm>
            <a:off x="6495378" y="4301715"/>
            <a:ext cx="601196" cy="109257"/>
          </a:xfrm>
          <a:custGeom>
            <a:avLst/>
            <a:gdLst/>
            <a:ahLst/>
            <a:cxnLst/>
            <a:rect l="l" t="t" r="r" b="b"/>
            <a:pathLst>
              <a:path w="681354" h="123825">
                <a:moveTo>
                  <a:pt x="499872" y="123444"/>
                </a:moveTo>
                <a:lnTo>
                  <a:pt x="181356" y="123444"/>
                </a:lnTo>
                <a:lnTo>
                  <a:pt x="0" y="62484"/>
                </a:lnTo>
                <a:lnTo>
                  <a:pt x="181356" y="0"/>
                </a:lnTo>
                <a:lnTo>
                  <a:pt x="499872" y="0"/>
                </a:lnTo>
                <a:lnTo>
                  <a:pt x="535258" y="12192"/>
                </a:lnTo>
                <a:lnTo>
                  <a:pt x="184404" y="12192"/>
                </a:lnTo>
                <a:lnTo>
                  <a:pt x="54271" y="56388"/>
                </a:lnTo>
                <a:lnTo>
                  <a:pt x="22860" y="56388"/>
                </a:lnTo>
                <a:lnTo>
                  <a:pt x="22860" y="67056"/>
                </a:lnTo>
                <a:lnTo>
                  <a:pt x="54271" y="67056"/>
                </a:lnTo>
                <a:lnTo>
                  <a:pt x="184404" y="111252"/>
                </a:lnTo>
                <a:lnTo>
                  <a:pt x="536143" y="111252"/>
                </a:lnTo>
                <a:lnTo>
                  <a:pt x="499872" y="123444"/>
                </a:lnTo>
                <a:close/>
              </a:path>
              <a:path w="681354" h="123825">
                <a:moveTo>
                  <a:pt x="498348" y="13716"/>
                </a:moveTo>
                <a:lnTo>
                  <a:pt x="182880" y="13716"/>
                </a:lnTo>
                <a:lnTo>
                  <a:pt x="184404" y="12192"/>
                </a:lnTo>
                <a:lnTo>
                  <a:pt x="496824" y="12192"/>
                </a:lnTo>
                <a:lnTo>
                  <a:pt x="498348" y="13716"/>
                </a:lnTo>
                <a:close/>
              </a:path>
              <a:path w="681354" h="123825">
                <a:moveTo>
                  <a:pt x="644038" y="61722"/>
                </a:moveTo>
                <a:lnTo>
                  <a:pt x="496824" y="12192"/>
                </a:lnTo>
                <a:lnTo>
                  <a:pt x="535258" y="12192"/>
                </a:lnTo>
                <a:lnTo>
                  <a:pt x="663534" y="56388"/>
                </a:lnTo>
                <a:lnTo>
                  <a:pt x="659892" y="56388"/>
                </a:lnTo>
                <a:lnTo>
                  <a:pt x="644038" y="61722"/>
                </a:lnTo>
                <a:close/>
              </a:path>
              <a:path w="681354" h="123825">
                <a:moveTo>
                  <a:pt x="22860" y="67056"/>
                </a:moveTo>
                <a:lnTo>
                  <a:pt x="22860" y="56388"/>
                </a:lnTo>
                <a:lnTo>
                  <a:pt x="38565" y="61722"/>
                </a:lnTo>
                <a:lnTo>
                  <a:pt x="22860" y="67056"/>
                </a:lnTo>
                <a:close/>
              </a:path>
              <a:path w="681354" h="123825">
                <a:moveTo>
                  <a:pt x="38565" y="61722"/>
                </a:moveTo>
                <a:lnTo>
                  <a:pt x="22860" y="56388"/>
                </a:lnTo>
                <a:lnTo>
                  <a:pt x="54271" y="56388"/>
                </a:lnTo>
                <a:lnTo>
                  <a:pt x="38565" y="61722"/>
                </a:lnTo>
                <a:close/>
              </a:path>
              <a:path w="681354" h="123825">
                <a:moveTo>
                  <a:pt x="659892" y="67056"/>
                </a:moveTo>
                <a:lnTo>
                  <a:pt x="644038" y="61722"/>
                </a:lnTo>
                <a:lnTo>
                  <a:pt x="659892" y="56388"/>
                </a:lnTo>
                <a:lnTo>
                  <a:pt x="659892" y="67056"/>
                </a:lnTo>
                <a:close/>
              </a:path>
              <a:path w="681354" h="123825">
                <a:moveTo>
                  <a:pt x="667626" y="67056"/>
                </a:moveTo>
                <a:lnTo>
                  <a:pt x="659892" y="67056"/>
                </a:lnTo>
                <a:lnTo>
                  <a:pt x="659892" y="56388"/>
                </a:lnTo>
                <a:lnTo>
                  <a:pt x="663534" y="56388"/>
                </a:lnTo>
                <a:lnTo>
                  <a:pt x="681228" y="62484"/>
                </a:lnTo>
                <a:lnTo>
                  <a:pt x="667626" y="67056"/>
                </a:lnTo>
                <a:close/>
              </a:path>
              <a:path w="681354" h="123825">
                <a:moveTo>
                  <a:pt x="54271" y="67056"/>
                </a:moveTo>
                <a:lnTo>
                  <a:pt x="22860" y="67056"/>
                </a:lnTo>
                <a:lnTo>
                  <a:pt x="38565" y="61722"/>
                </a:lnTo>
                <a:lnTo>
                  <a:pt x="54271" y="67056"/>
                </a:lnTo>
                <a:close/>
              </a:path>
              <a:path w="681354" h="123825">
                <a:moveTo>
                  <a:pt x="536143" y="111252"/>
                </a:moveTo>
                <a:lnTo>
                  <a:pt x="496824" y="111252"/>
                </a:lnTo>
                <a:lnTo>
                  <a:pt x="644038" y="61722"/>
                </a:lnTo>
                <a:lnTo>
                  <a:pt x="659892" y="67056"/>
                </a:lnTo>
                <a:lnTo>
                  <a:pt x="667626" y="67056"/>
                </a:lnTo>
                <a:lnTo>
                  <a:pt x="536143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0" name="object 200"/>
          <p:cNvSpPr/>
          <p:nvPr/>
        </p:nvSpPr>
        <p:spPr>
          <a:xfrm>
            <a:off x="6512859" y="4413325"/>
            <a:ext cx="566457" cy="98612"/>
          </a:xfrm>
          <a:custGeom>
            <a:avLst/>
            <a:gdLst/>
            <a:ahLst/>
            <a:cxnLst/>
            <a:rect l="l" t="t" r="r" b="b"/>
            <a:pathLst>
              <a:path w="641985" h="111760">
                <a:moveTo>
                  <a:pt x="478536" y="111252"/>
                </a:moveTo>
                <a:lnTo>
                  <a:pt x="163068" y="111252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11252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1" name="object 201"/>
          <p:cNvSpPr/>
          <p:nvPr/>
        </p:nvSpPr>
        <p:spPr>
          <a:xfrm>
            <a:off x="6495378" y="4407946"/>
            <a:ext cx="601196" cy="109257"/>
          </a:xfrm>
          <a:custGeom>
            <a:avLst/>
            <a:gdLst/>
            <a:ahLst/>
            <a:cxnLst/>
            <a:rect l="l" t="t" r="r" b="b"/>
            <a:pathLst>
              <a:path w="681354" h="123825">
                <a:moveTo>
                  <a:pt x="499872" y="123444"/>
                </a:moveTo>
                <a:lnTo>
                  <a:pt x="181356" y="123444"/>
                </a:lnTo>
                <a:lnTo>
                  <a:pt x="0" y="60960"/>
                </a:lnTo>
                <a:lnTo>
                  <a:pt x="181356" y="0"/>
                </a:lnTo>
                <a:lnTo>
                  <a:pt x="499872" y="0"/>
                </a:lnTo>
                <a:lnTo>
                  <a:pt x="536143" y="12192"/>
                </a:lnTo>
                <a:lnTo>
                  <a:pt x="184404" y="12192"/>
                </a:lnTo>
                <a:lnTo>
                  <a:pt x="58758" y="54864"/>
                </a:lnTo>
                <a:lnTo>
                  <a:pt x="22860" y="54864"/>
                </a:lnTo>
                <a:lnTo>
                  <a:pt x="22860" y="67056"/>
                </a:lnTo>
                <a:lnTo>
                  <a:pt x="57788" y="67056"/>
                </a:lnTo>
                <a:lnTo>
                  <a:pt x="184404" y="111252"/>
                </a:lnTo>
                <a:lnTo>
                  <a:pt x="535258" y="111252"/>
                </a:lnTo>
                <a:lnTo>
                  <a:pt x="499872" y="123444"/>
                </a:lnTo>
                <a:close/>
              </a:path>
              <a:path w="681354" h="123825">
                <a:moveTo>
                  <a:pt x="642021" y="61043"/>
                </a:moveTo>
                <a:lnTo>
                  <a:pt x="496824" y="12192"/>
                </a:lnTo>
                <a:lnTo>
                  <a:pt x="536143" y="12192"/>
                </a:lnTo>
                <a:lnTo>
                  <a:pt x="663092" y="54864"/>
                </a:lnTo>
                <a:lnTo>
                  <a:pt x="659892" y="54864"/>
                </a:lnTo>
                <a:lnTo>
                  <a:pt x="642021" y="61043"/>
                </a:lnTo>
                <a:close/>
              </a:path>
              <a:path w="681354" h="123825">
                <a:moveTo>
                  <a:pt x="22860" y="67056"/>
                </a:moveTo>
                <a:lnTo>
                  <a:pt x="22860" y="54864"/>
                </a:lnTo>
                <a:lnTo>
                  <a:pt x="40563" y="61043"/>
                </a:lnTo>
                <a:lnTo>
                  <a:pt x="22860" y="67056"/>
                </a:lnTo>
                <a:close/>
              </a:path>
              <a:path w="681354" h="123825">
                <a:moveTo>
                  <a:pt x="40563" y="61043"/>
                </a:moveTo>
                <a:lnTo>
                  <a:pt x="22860" y="54864"/>
                </a:lnTo>
                <a:lnTo>
                  <a:pt x="58758" y="54864"/>
                </a:lnTo>
                <a:lnTo>
                  <a:pt x="40563" y="61043"/>
                </a:lnTo>
                <a:close/>
              </a:path>
              <a:path w="681354" h="123825">
                <a:moveTo>
                  <a:pt x="659892" y="67056"/>
                </a:moveTo>
                <a:lnTo>
                  <a:pt x="642021" y="61043"/>
                </a:lnTo>
                <a:lnTo>
                  <a:pt x="659892" y="54864"/>
                </a:lnTo>
                <a:lnTo>
                  <a:pt x="659892" y="67056"/>
                </a:lnTo>
                <a:close/>
              </a:path>
              <a:path w="681354" h="123825">
                <a:moveTo>
                  <a:pt x="663534" y="67056"/>
                </a:moveTo>
                <a:lnTo>
                  <a:pt x="659892" y="67056"/>
                </a:lnTo>
                <a:lnTo>
                  <a:pt x="659892" y="54864"/>
                </a:lnTo>
                <a:lnTo>
                  <a:pt x="663092" y="54864"/>
                </a:lnTo>
                <a:lnTo>
                  <a:pt x="681228" y="60960"/>
                </a:lnTo>
                <a:lnTo>
                  <a:pt x="663534" y="67056"/>
                </a:lnTo>
                <a:close/>
              </a:path>
              <a:path w="681354" h="123825">
                <a:moveTo>
                  <a:pt x="57788" y="67056"/>
                </a:moveTo>
                <a:lnTo>
                  <a:pt x="22860" y="67056"/>
                </a:lnTo>
                <a:lnTo>
                  <a:pt x="40563" y="61043"/>
                </a:lnTo>
                <a:lnTo>
                  <a:pt x="57788" y="67056"/>
                </a:lnTo>
                <a:close/>
              </a:path>
              <a:path w="681354" h="123825">
                <a:moveTo>
                  <a:pt x="535258" y="111252"/>
                </a:moveTo>
                <a:lnTo>
                  <a:pt x="496824" y="111252"/>
                </a:lnTo>
                <a:lnTo>
                  <a:pt x="642021" y="61043"/>
                </a:lnTo>
                <a:lnTo>
                  <a:pt x="659892" y="67056"/>
                </a:lnTo>
                <a:lnTo>
                  <a:pt x="663534" y="67056"/>
                </a:lnTo>
                <a:lnTo>
                  <a:pt x="535258" y="111252"/>
                </a:lnTo>
                <a:close/>
              </a:path>
              <a:path w="681354" h="123825">
                <a:moveTo>
                  <a:pt x="496824" y="111252"/>
                </a:moveTo>
                <a:lnTo>
                  <a:pt x="184404" y="111252"/>
                </a:lnTo>
                <a:lnTo>
                  <a:pt x="182880" y="109728"/>
                </a:lnTo>
                <a:lnTo>
                  <a:pt x="498348" y="109728"/>
                </a:lnTo>
                <a:lnTo>
                  <a:pt x="496824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2" name="object 202"/>
          <p:cNvSpPr/>
          <p:nvPr/>
        </p:nvSpPr>
        <p:spPr>
          <a:xfrm>
            <a:off x="7349266" y="4095975"/>
            <a:ext cx="564776" cy="96931"/>
          </a:xfrm>
          <a:custGeom>
            <a:avLst/>
            <a:gdLst/>
            <a:ahLst/>
            <a:cxnLst/>
            <a:rect l="l" t="t" r="r" b="b"/>
            <a:pathLst>
              <a:path w="640079" h="109854">
                <a:moveTo>
                  <a:pt x="477012" y="109728"/>
                </a:moveTo>
                <a:lnTo>
                  <a:pt x="161544" y="109728"/>
                </a:lnTo>
                <a:lnTo>
                  <a:pt x="0" y="54864"/>
                </a:lnTo>
                <a:lnTo>
                  <a:pt x="161544" y="0"/>
                </a:lnTo>
                <a:lnTo>
                  <a:pt x="477012" y="0"/>
                </a:lnTo>
                <a:lnTo>
                  <a:pt x="640080" y="54864"/>
                </a:lnTo>
                <a:lnTo>
                  <a:pt x="477012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3" name="object 203"/>
          <p:cNvSpPr/>
          <p:nvPr/>
        </p:nvSpPr>
        <p:spPr>
          <a:xfrm>
            <a:off x="7331784" y="4089251"/>
            <a:ext cx="600075" cy="109257"/>
          </a:xfrm>
          <a:custGeom>
            <a:avLst/>
            <a:gdLst/>
            <a:ahLst/>
            <a:cxnLst/>
            <a:rect l="l" t="t" r="r" b="b"/>
            <a:pathLst>
              <a:path w="680084" h="123825">
                <a:moveTo>
                  <a:pt x="498348" y="123444"/>
                </a:moveTo>
                <a:lnTo>
                  <a:pt x="181356" y="123444"/>
                </a:lnTo>
                <a:lnTo>
                  <a:pt x="0" y="62484"/>
                </a:lnTo>
                <a:lnTo>
                  <a:pt x="181356" y="0"/>
                </a:lnTo>
                <a:lnTo>
                  <a:pt x="498348" y="0"/>
                </a:lnTo>
                <a:lnTo>
                  <a:pt x="538157" y="13716"/>
                </a:lnTo>
                <a:lnTo>
                  <a:pt x="184404" y="13716"/>
                </a:lnTo>
                <a:lnTo>
                  <a:pt x="57573" y="56388"/>
                </a:lnTo>
                <a:lnTo>
                  <a:pt x="21336" y="56388"/>
                </a:lnTo>
                <a:lnTo>
                  <a:pt x="21336" y="68580"/>
                </a:lnTo>
                <a:lnTo>
                  <a:pt x="57573" y="68580"/>
                </a:lnTo>
                <a:lnTo>
                  <a:pt x="184404" y="111252"/>
                </a:lnTo>
                <a:lnTo>
                  <a:pt x="534619" y="111252"/>
                </a:lnTo>
                <a:lnTo>
                  <a:pt x="498348" y="123444"/>
                </a:lnTo>
                <a:close/>
              </a:path>
              <a:path w="680084" h="123825">
                <a:moveTo>
                  <a:pt x="640249" y="62484"/>
                </a:moveTo>
                <a:lnTo>
                  <a:pt x="495300" y="13716"/>
                </a:lnTo>
                <a:lnTo>
                  <a:pt x="538157" y="13716"/>
                </a:lnTo>
                <a:lnTo>
                  <a:pt x="662010" y="56388"/>
                </a:lnTo>
                <a:lnTo>
                  <a:pt x="658368" y="56388"/>
                </a:lnTo>
                <a:lnTo>
                  <a:pt x="640249" y="62484"/>
                </a:lnTo>
                <a:close/>
              </a:path>
              <a:path w="680084" h="123825">
                <a:moveTo>
                  <a:pt x="21336" y="68580"/>
                </a:moveTo>
                <a:lnTo>
                  <a:pt x="21336" y="56388"/>
                </a:lnTo>
                <a:lnTo>
                  <a:pt x="39454" y="62484"/>
                </a:lnTo>
                <a:lnTo>
                  <a:pt x="21336" y="68580"/>
                </a:lnTo>
                <a:close/>
              </a:path>
              <a:path w="680084" h="123825">
                <a:moveTo>
                  <a:pt x="39454" y="62484"/>
                </a:moveTo>
                <a:lnTo>
                  <a:pt x="21336" y="56388"/>
                </a:lnTo>
                <a:lnTo>
                  <a:pt x="57573" y="56388"/>
                </a:lnTo>
                <a:lnTo>
                  <a:pt x="39454" y="62484"/>
                </a:lnTo>
                <a:close/>
              </a:path>
              <a:path w="680084" h="123825">
                <a:moveTo>
                  <a:pt x="658368" y="68580"/>
                </a:moveTo>
                <a:lnTo>
                  <a:pt x="640249" y="62484"/>
                </a:lnTo>
                <a:lnTo>
                  <a:pt x="658368" y="56388"/>
                </a:lnTo>
                <a:lnTo>
                  <a:pt x="658368" y="68580"/>
                </a:lnTo>
                <a:close/>
              </a:path>
              <a:path w="680084" h="123825">
                <a:moveTo>
                  <a:pt x="661568" y="68580"/>
                </a:moveTo>
                <a:lnTo>
                  <a:pt x="658368" y="68580"/>
                </a:lnTo>
                <a:lnTo>
                  <a:pt x="658368" y="56388"/>
                </a:lnTo>
                <a:lnTo>
                  <a:pt x="662010" y="56388"/>
                </a:lnTo>
                <a:lnTo>
                  <a:pt x="679704" y="62484"/>
                </a:lnTo>
                <a:lnTo>
                  <a:pt x="661568" y="68580"/>
                </a:lnTo>
                <a:close/>
              </a:path>
              <a:path w="680084" h="123825">
                <a:moveTo>
                  <a:pt x="57573" y="68580"/>
                </a:moveTo>
                <a:lnTo>
                  <a:pt x="21336" y="68580"/>
                </a:lnTo>
                <a:lnTo>
                  <a:pt x="39454" y="62484"/>
                </a:lnTo>
                <a:lnTo>
                  <a:pt x="57573" y="68580"/>
                </a:lnTo>
                <a:close/>
              </a:path>
              <a:path w="680084" h="123825">
                <a:moveTo>
                  <a:pt x="534619" y="111252"/>
                </a:moveTo>
                <a:lnTo>
                  <a:pt x="495300" y="111252"/>
                </a:lnTo>
                <a:lnTo>
                  <a:pt x="640249" y="62484"/>
                </a:lnTo>
                <a:lnTo>
                  <a:pt x="658368" y="68580"/>
                </a:lnTo>
                <a:lnTo>
                  <a:pt x="661568" y="68580"/>
                </a:lnTo>
                <a:lnTo>
                  <a:pt x="534619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4" name="object 204"/>
          <p:cNvSpPr/>
          <p:nvPr/>
        </p:nvSpPr>
        <p:spPr>
          <a:xfrm>
            <a:off x="6931063" y="4148418"/>
            <a:ext cx="566457" cy="96931"/>
          </a:xfrm>
          <a:custGeom>
            <a:avLst/>
            <a:gdLst/>
            <a:ahLst/>
            <a:cxnLst/>
            <a:rect l="l" t="t" r="r" b="b"/>
            <a:pathLst>
              <a:path w="641984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5" name="object 205"/>
          <p:cNvSpPr/>
          <p:nvPr/>
        </p:nvSpPr>
        <p:spPr>
          <a:xfrm>
            <a:off x="6913581" y="4143039"/>
            <a:ext cx="601196" cy="109257"/>
          </a:xfrm>
          <a:custGeom>
            <a:avLst/>
            <a:gdLst/>
            <a:ahLst/>
            <a:cxnLst/>
            <a:rect l="l" t="t" r="r" b="b"/>
            <a:pathLst>
              <a:path w="681354" h="123825">
                <a:moveTo>
                  <a:pt x="499872" y="123444"/>
                </a:moveTo>
                <a:lnTo>
                  <a:pt x="181356" y="123444"/>
                </a:lnTo>
                <a:lnTo>
                  <a:pt x="0" y="60960"/>
                </a:lnTo>
                <a:lnTo>
                  <a:pt x="181356" y="0"/>
                </a:lnTo>
                <a:lnTo>
                  <a:pt x="499872" y="0"/>
                </a:lnTo>
                <a:lnTo>
                  <a:pt x="536143" y="12192"/>
                </a:lnTo>
                <a:lnTo>
                  <a:pt x="184404" y="12192"/>
                </a:lnTo>
                <a:lnTo>
                  <a:pt x="57573" y="54864"/>
                </a:lnTo>
                <a:lnTo>
                  <a:pt x="21336" y="54864"/>
                </a:lnTo>
                <a:lnTo>
                  <a:pt x="21336" y="67056"/>
                </a:lnTo>
                <a:lnTo>
                  <a:pt x="57573" y="67056"/>
                </a:lnTo>
                <a:lnTo>
                  <a:pt x="184404" y="109728"/>
                </a:lnTo>
                <a:lnTo>
                  <a:pt x="539681" y="109728"/>
                </a:lnTo>
                <a:lnTo>
                  <a:pt x="499872" y="123444"/>
                </a:lnTo>
                <a:close/>
              </a:path>
              <a:path w="681354" h="123825">
                <a:moveTo>
                  <a:pt x="640418" y="60960"/>
                </a:moveTo>
                <a:lnTo>
                  <a:pt x="496824" y="12192"/>
                </a:lnTo>
                <a:lnTo>
                  <a:pt x="536143" y="12192"/>
                </a:lnTo>
                <a:lnTo>
                  <a:pt x="663092" y="54864"/>
                </a:lnTo>
                <a:lnTo>
                  <a:pt x="658368" y="54864"/>
                </a:lnTo>
                <a:lnTo>
                  <a:pt x="640418" y="60960"/>
                </a:lnTo>
                <a:close/>
              </a:path>
              <a:path w="681354" h="123825">
                <a:moveTo>
                  <a:pt x="21336" y="67056"/>
                </a:moveTo>
                <a:lnTo>
                  <a:pt x="21336" y="54864"/>
                </a:lnTo>
                <a:lnTo>
                  <a:pt x="39454" y="60960"/>
                </a:lnTo>
                <a:lnTo>
                  <a:pt x="21336" y="67056"/>
                </a:lnTo>
                <a:close/>
              </a:path>
              <a:path w="681354" h="123825">
                <a:moveTo>
                  <a:pt x="39454" y="60960"/>
                </a:moveTo>
                <a:lnTo>
                  <a:pt x="21336" y="54864"/>
                </a:lnTo>
                <a:lnTo>
                  <a:pt x="57573" y="54864"/>
                </a:lnTo>
                <a:lnTo>
                  <a:pt x="39454" y="60960"/>
                </a:lnTo>
                <a:close/>
              </a:path>
              <a:path w="681354" h="123825">
                <a:moveTo>
                  <a:pt x="658368" y="67056"/>
                </a:moveTo>
                <a:lnTo>
                  <a:pt x="640418" y="60960"/>
                </a:lnTo>
                <a:lnTo>
                  <a:pt x="658368" y="54864"/>
                </a:lnTo>
                <a:lnTo>
                  <a:pt x="658368" y="67056"/>
                </a:lnTo>
                <a:close/>
              </a:path>
              <a:path w="681354" h="123825">
                <a:moveTo>
                  <a:pt x="663534" y="67056"/>
                </a:moveTo>
                <a:lnTo>
                  <a:pt x="658368" y="67056"/>
                </a:lnTo>
                <a:lnTo>
                  <a:pt x="658368" y="54864"/>
                </a:lnTo>
                <a:lnTo>
                  <a:pt x="663092" y="54864"/>
                </a:lnTo>
                <a:lnTo>
                  <a:pt x="681228" y="60960"/>
                </a:lnTo>
                <a:lnTo>
                  <a:pt x="663534" y="67056"/>
                </a:lnTo>
                <a:close/>
              </a:path>
              <a:path w="681354" h="123825">
                <a:moveTo>
                  <a:pt x="57573" y="67056"/>
                </a:moveTo>
                <a:lnTo>
                  <a:pt x="21336" y="67056"/>
                </a:lnTo>
                <a:lnTo>
                  <a:pt x="39454" y="60960"/>
                </a:lnTo>
                <a:lnTo>
                  <a:pt x="57573" y="67056"/>
                </a:lnTo>
                <a:close/>
              </a:path>
              <a:path w="681354" h="123825">
                <a:moveTo>
                  <a:pt x="539681" y="109728"/>
                </a:moveTo>
                <a:lnTo>
                  <a:pt x="496824" y="109728"/>
                </a:lnTo>
                <a:lnTo>
                  <a:pt x="640418" y="60960"/>
                </a:lnTo>
                <a:lnTo>
                  <a:pt x="658368" y="67056"/>
                </a:lnTo>
                <a:lnTo>
                  <a:pt x="663534" y="67056"/>
                </a:lnTo>
                <a:lnTo>
                  <a:pt x="539681" y="1097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6" name="object 206"/>
          <p:cNvSpPr/>
          <p:nvPr/>
        </p:nvSpPr>
        <p:spPr>
          <a:xfrm>
            <a:off x="6931063" y="4254650"/>
            <a:ext cx="566457" cy="96931"/>
          </a:xfrm>
          <a:custGeom>
            <a:avLst/>
            <a:gdLst/>
            <a:ahLst/>
            <a:cxnLst/>
            <a:rect l="l" t="t" r="r" b="b"/>
            <a:pathLst>
              <a:path w="641984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7" name="object 207"/>
          <p:cNvSpPr/>
          <p:nvPr/>
        </p:nvSpPr>
        <p:spPr>
          <a:xfrm>
            <a:off x="6913581" y="4249271"/>
            <a:ext cx="601196" cy="107576"/>
          </a:xfrm>
          <a:custGeom>
            <a:avLst/>
            <a:gdLst/>
            <a:ahLst/>
            <a:cxnLst/>
            <a:rect l="l" t="t" r="r" b="b"/>
            <a:pathLst>
              <a:path w="681354" h="121920">
                <a:moveTo>
                  <a:pt x="499872" y="121920"/>
                </a:moveTo>
                <a:lnTo>
                  <a:pt x="181356" y="121920"/>
                </a:lnTo>
                <a:lnTo>
                  <a:pt x="0" y="60960"/>
                </a:lnTo>
                <a:lnTo>
                  <a:pt x="181356" y="0"/>
                </a:lnTo>
                <a:lnTo>
                  <a:pt x="499872" y="0"/>
                </a:lnTo>
                <a:lnTo>
                  <a:pt x="536143" y="12192"/>
                </a:lnTo>
                <a:lnTo>
                  <a:pt x="184404" y="12192"/>
                </a:lnTo>
                <a:lnTo>
                  <a:pt x="57573" y="54864"/>
                </a:lnTo>
                <a:lnTo>
                  <a:pt x="21336" y="54864"/>
                </a:lnTo>
                <a:lnTo>
                  <a:pt x="21336" y="67056"/>
                </a:lnTo>
                <a:lnTo>
                  <a:pt x="57573" y="67056"/>
                </a:lnTo>
                <a:lnTo>
                  <a:pt x="184404" y="109728"/>
                </a:lnTo>
                <a:lnTo>
                  <a:pt x="536143" y="109728"/>
                </a:lnTo>
                <a:lnTo>
                  <a:pt x="499872" y="121920"/>
                </a:lnTo>
                <a:close/>
              </a:path>
              <a:path w="681354" h="121920">
                <a:moveTo>
                  <a:pt x="640418" y="60960"/>
                </a:moveTo>
                <a:lnTo>
                  <a:pt x="496824" y="12192"/>
                </a:lnTo>
                <a:lnTo>
                  <a:pt x="536143" y="12192"/>
                </a:lnTo>
                <a:lnTo>
                  <a:pt x="663092" y="54864"/>
                </a:lnTo>
                <a:lnTo>
                  <a:pt x="658368" y="54864"/>
                </a:lnTo>
                <a:lnTo>
                  <a:pt x="640418" y="60960"/>
                </a:lnTo>
                <a:close/>
              </a:path>
              <a:path w="681354" h="121920">
                <a:moveTo>
                  <a:pt x="21336" y="67056"/>
                </a:moveTo>
                <a:lnTo>
                  <a:pt x="21336" y="54864"/>
                </a:lnTo>
                <a:lnTo>
                  <a:pt x="39454" y="60960"/>
                </a:lnTo>
                <a:lnTo>
                  <a:pt x="21336" y="67056"/>
                </a:lnTo>
                <a:close/>
              </a:path>
              <a:path w="681354" h="121920">
                <a:moveTo>
                  <a:pt x="39454" y="60960"/>
                </a:moveTo>
                <a:lnTo>
                  <a:pt x="21336" y="54864"/>
                </a:lnTo>
                <a:lnTo>
                  <a:pt x="57573" y="54864"/>
                </a:lnTo>
                <a:lnTo>
                  <a:pt x="39454" y="60960"/>
                </a:lnTo>
                <a:close/>
              </a:path>
              <a:path w="681354" h="121920">
                <a:moveTo>
                  <a:pt x="658368" y="67056"/>
                </a:moveTo>
                <a:lnTo>
                  <a:pt x="640418" y="60960"/>
                </a:lnTo>
                <a:lnTo>
                  <a:pt x="658368" y="54864"/>
                </a:lnTo>
                <a:lnTo>
                  <a:pt x="658368" y="67056"/>
                </a:lnTo>
                <a:close/>
              </a:path>
              <a:path w="681354" h="121920">
                <a:moveTo>
                  <a:pt x="663092" y="67056"/>
                </a:moveTo>
                <a:lnTo>
                  <a:pt x="658368" y="67056"/>
                </a:lnTo>
                <a:lnTo>
                  <a:pt x="658368" y="54864"/>
                </a:lnTo>
                <a:lnTo>
                  <a:pt x="663092" y="54864"/>
                </a:lnTo>
                <a:lnTo>
                  <a:pt x="681228" y="60960"/>
                </a:lnTo>
                <a:lnTo>
                  <a:pt x="663092" y="67056"/>
                </a:lnTo>
                <a:close/>
              </a:path>
              <a:path w="681354" h="121920">
                <a:moveTo>
                  <a:pt x="57573" y="67056"/>
                </a:moveTo>
                <a:lnTo>
                  <a:pt x="21336" y="67056"/>
                </a:lnTo>
                <a:lnTo>
                  <a:pt x="39454" y="60960"/>
                </a:lnTo>
                <a:lnTo>
                  <a:pt x="57573" y="67056"/>
                </a:lnTo>
                <a:close/>
              </a:path>
              <a:path w="681354" h="121920">
                <a:moveTo>
                  <a:pt x="536143" y="109728"/>
                </a:moveTo>
                <a:lnTo>
                  <a:pt x="496824" y="109728"/>
                </a:lnTo>
                <a:lnTo>
                  <a:pt x="640418" y="60960"/>
                </a:lnTo>
                <a:lnTo>
                  <a:pt x="658368" y="67056"/>
                </a:lnTo>
                <a:lnTo>
                  <a:pt x="663092" y="67056"/>
                </a:lnTo>
                <a:lnTo>
                  <a:pt x="536143" y="1097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8" name="object 208"/>
          <p:cNvSpPr/>
          <p:nvPr/>
        </p:nvSpPr>
        <p:spPr>
          <a:xfrm>
            <a:off x="6931063" y="4360882"/>
            <a:ext cx="566457" cy="96931"/>
          </a:xfrm>
          <a:custGeom>
            <a:avLst/>
            <a:gdLst/>
            <a:ahLst/>
            <a:cxnLst/>
            <a:rect l="l" t="t" r="r" b="b"/>
            <a:pathLst>
              <a:path w="641984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9" name="object 209"/>
          <p:cNvSpPr/>
          <p:nvPr/>
        </p:nvSpPr>
        <p:spPr>
          <a:xfrm>
            <a:off x="6913581" y="4355502"/>
            <a:ext cx="601196" cy="107576"/>
          </a:xfrm>
          <a:custGeom>
            <a:avLst/>
            <a:gdLst/>
            <a:ahLst/>
            <a:cxnLst/>
            <a:rect l="l" t="t" r="r" b="b"/>
            <a:pathLst>
              <a:path w="681354" h="121920">
                <a:moveTo>
                  <a:pt x="499872" y="121920"/>
                </a:moveTo>
                <a:lnTo>
                  <a:pt x="181356" y="121920"/>
                </a:lnTo>
                <a:lnTo>
                  <a:pt x="0" y="60960"/>
                </a:lnTo>
                <a:lnTo>
                  <a:pt x="181356" y="0"/>
                </a:lnTo>
                <a:lnTo>
                  <a:pt x="499872" y="0"/>
                </a:lnTo>
                <a:lnTo>
                  <a:pt x="536143" y="12192"/>
                </a:lnTo>
                <a:lnTo>
                  <a:pt x="184404" y="12192"/>
                </a:lnTo>
                <a:lnTo>
                  <a:pt x="57573" y="54864"/>
                </a:lnTo>
                <a:lnTo>
                  <a:pt x="21336" y="54864"/>
                </a:lnTo>
                <a:lnTo>
                  <a:pt x="21336" y="67056"/>
                </a:lnTo>
                <a:lnTo>
                  <a:pt x="57573" y="67056"/>
                </a:lnTo>
                <a:lnTo>
                  <a:pt x="184404" y="109728"/>
                </a:lnTo>
                <a:lnTo>
                  <a:pt x="536143" y="109728"/>
                </a:lnTo>
                <a:lnTo>
                  <a:pt x="499872" y="121920"/>
                </a:lnTo>
                <a:close/>
              </a:path>
              <a:path w="681354" h="121920">
                <a:moveTo>
                  <a:pt x="640418" y="60960"/>
                </a:moveTo>
                <a:lnTo>
                  <a:pt x="496824" y="12192"/>
                </a:lnTo>
                <a:lnTo>
                  <a:pt x="536143" y="12192"/>
                </a:lnTo>
                <a:lnTo>
                  <a:pt x="663092" y="54864"/>
                </a:lnTo>
                <a:lnTo>
                  <a:pt x="658368" y="54864"/>
                </a:lnTo>
                <a:lnTo>
                  <a:pt x="640418" y="60960"/>
                </a:lnTo>
                <a:close/>
              </a:path>
              <a:path w="681354" h="121920">
                <a:moveTo>
                  <a:pt x="21336" y="67056"/>
                </a:moveTo>
                <a:lnTo>
                  <a:pt x="21336" y="54864"/>
                </a:lnTo>
                <a:lnTo>
                  <a:pt x="39454" y="60960"/>
                </a:lnTo>
                <a:lnTo>
                  <a:pt x="21336" y="67056"/>
                </a:lnTo>
                <a:close/>
              </a:path>
              <a:path w="681354" h="121920">
                <a:moveTo>
                  <a:pt x="39454" y="60960"/>
                </a:moveTo>
                <a:lnTo>
                  <a:pt x="21336" y="54864"/>
                </a:lnTo>
                <a:lnTo>
                  <a:pt x="57573" y="54864"/>
                </a:lnTo>
                <a:lnTo>
                  <a:pt x="39454" y="60960"/>
                </a:lnTo>
                <a:close/>
              </a:path>
              <a:path w="681354" h="121920">
                <a:moveTo>
                  <a:pt x="658368" y="67056"/>
                </a:moveTo>
                <a:lnTo>
                  <a:pt x="640418" y="60960"/>
                </a:lnTo>
                <a:lnTo>
                  <a:pt x="658368" y="54864"/>
                </a:lnTo>
                <a:lnTo>
                  <a:pt x="658368" y="67056"/>
                </a:lnTo>
                <a:close/>
              </a:path>
              <a:path w="681354" h="121920">
                <a:moveTo>
                  <a:pt x="663092" y="67056"/>
                </a:moveTo>
                <a:lnTo>
                  <a:pt x="658368" y="67056"/>
                </a:lnTo>
                <a:lnTo>
                  <a:pt x="658368" y="54864"/>
                </a:lnTo>
                <a:lnTo>
                  <a:pt x="663092" y="54864"/>
                </a:lnTo>
                <a:lnTo>
                  <a:pt x="681228" y="60960"/>
                </a:lnTo>
                <a:lnTo>
                  <a:pt x="663092" y="67056"/>
                </a:lnTo>
                <a:close/>
              </a:path>
              <a:path w="681354" h="121920">
                <a:moveTo>
                  <a:pt x="57573" y="67056"/>
                </a:moveTo>
                <a:lnTo>
                  <a:pt x="21336" y="67056"/>
                </a:lnTo>
                <a:lnTo>
                  <a:pt x="39454" y="60960"/>
                </a:lnTo>
                <a:lnTo>
                  <a:pt x="57573" y="67056"/>
                </a:lnTo>
                <a:close/>
              </a:path>
              <a:path w="681354" h="121920">
                <a:moveTo>
                  <a:pt x="536143" y="109728"/>
                </a:moveTo>
                <a:lnTo>
                  <a:pt x="496824" y="109728"/>
                </a:lnTo>
                <a:lnTo>
                  <a:pt x="640418" y="60960"/>
                </a:lnTo>
                <a:lnTo>
                  <a:pt x="658368" y="67056"/>
                </a:lnTo>
                <a:lnTo>
                  <a:pt x="663092" y="67056"/>
                </a:lnTo>
                <a:lnTo>
                  <a:pt x="536143" y="1097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0" name="object 210"/>
          <p:cNvSpPr/>
          <p:nvPr/>
        </p:nvSpPr>
        <p:spPr>
          <a:xfrm>
            <a:off x="6931063" y="4467113"/>
            <a:ext cx="566457" cy="96931"/>
          </a:xfrm>
          <a:custGeom>
            <a:avLst/>
            <a:gdLst/>
            <a:ahLst/>
            <a:cxnLst/>
            <a:rect l="l" t="t" r="r" b="b"/>
            <a:pathLst>
              <a:path w="641984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1" name="object 211"/>
          <p:cNvSpPr/>
          <p:nvPr/>
        </p:nvSpPr>
        <p:spPr>
          <a:xfrm>
            <a:off x="6913581" y="4461734"/>
            <a:ext cx="601196" cy="107576"/>
          </a:xfrm>
          <a:custGeom>
            <a:avLst/>
            <a:gdLst/>
            <a:ahLst/>
            <a:cxnLst/>
            <a:rect l="l" t="t" r="r" b="b"/>
            <a:pathLst>
              <a:path w="681354" h="121920">
                <a:moveTo>
                  <a:pt x="499872" y="121920"/>
                </a:moveTo>
                <a:lnTo>
                  <a:pt x="181356" y="121920"/>
                </a:lnTo>
                <a:lnTo>
                  <a:pt x="0" y="60960"/>
                </a:lnTo>
                <a:lnTo>
                  <a:pt x="181356" y="0"/>
                </a:lnTo>
                <a:lnTo>
                  <a:pt x="499872" y="0"/>
                </a:lnTo>
                <a:lnTo>
                  <a:pt x="536143" y="12192"/>
                </a:lnTo>
                <a:lnTo>
                  <a:pt x="184404" y="12192"/>
                </a:lnTo>
                <a:lnTo>
                  <a:pt x="57573" y="54864"/>
                </a:lnTo>
                <a:lnTo>
                  <a:pt x="21336" y="54864"/>
                </a:lnTo>
                <a:lnTo>
                  <a:pt x="21336" y="67056"/>
                </a:lnTo>
                <a:lnTo>
                  <a:pt x="57573" y="67056"/>
                </a:lnTo>
                <a:lnTo>
                  <a:pt x="184404" y="109728"/>
                </a:lnTo>
                <a:lnTo>
                  <a:pt x="536143" y="109728"/>
                </a:lnTo>
                <a:lnTo>
                  <a:pt x="499872" y="121920"/>
                </a:lnTo>
                <a:close/>
              </a:path>
              <a:path w="681354" h="121920">
                <a:moveTo>
                  <a:pt x="640418" y="60960"/>
                </a:moveTo>
                <a:lnTo>
                  <a:pt x="496824" y="12192"/>
                </a:lnTo>
                <a:lnTo>
                  <a:pt x="536143" y="12192"/>
                </a:lnTo>
                <a:lnTo>
                  <a:pt x="663092" y="54864"/>
                </a:lnTo>
                <a:lnTo>
                  <a:pt x="658368" y="54864"/>
                </a:lnTo>
                <a:lnTo>
                  <a:pt x="640418" y="60960"/>
                </a:lnTo>
                <a:close/>
              </a:path>
              <a:path w="681354" h="121920">
                <a:moveTo>
                  <a:pt x="21336" y="67056"/>
                </a:moveTo>
                <a:lnTo>
                  <a:pt x="21336" y="54864"/>
                </a:lnTo>
                <a:lnTo>
                  <a:pt x="39454" y="60960"/>
                </a:lnTo>
                <a:lnTo>
                  <a:pt x="21336" y="67056"/>
                </a:lnTo>
                <a:close/>
              </a:path>
              <a:path w="681354" h="121920">
                <a:moveTo>
                  <a:pt x="39454" y="60960"/>
                </a:moveTo>
                <a:lnTo>
                  <a:pt x="21336" y="54864"/>
                </a:lnTo>
                <a:lnTo>
                  <a:pt x="57573" y="54864"/>
                </a:lnTo>
                <a:lnTo>
                  <a:pt x="39454" y="60960"/>
                </a:lnTo>
                <a:close/>
              </a:path>
              <a:path w="681354" h="121920">
                <a:moveTo>
                  <a:pt x="658368" y="67056"/>
                </a:moveTo>
                <a:lnTo>
                  <a:pt x="640418" y="60960"/>
                </a:lnTo>
                <a:lnTo>
                  <a:pt x="658368" y="54864"/>
                </a:lnTo>
                <a:lnTo>
                  <a:pt x="658368" y="67056"/>
                </a:lnTo>
                <a:close/>
              </a:path>
              <a:path w="681354" h="121920">
                <a:moveTo>
                  <a:pt x="663092" y="67056"/>
                </a:moveTo>
                <a:lnTo>
                  <a:pt x="658368" y="67056"/>
                </a:lnTo>
                <a:lnTo>
                  <a:pt x="658368" y="54864"/>
                </a:lnTo>
                <a:lnTo>
                  <a:pt x="663092" y="54864"/>
                </a:lnTo>
                <a:lnTo>
                  <a:pt x="681228" y="60960"/>
                </a:lnTo>
                <a:lnTo>
                  <a:pt x="663092" y="67056"/>
                </a:lnTo>
                <a:close/>
              </a:path>
              <a:path w="681354" h="121920">
                <a:moveTo>
                  <a:pt x="57573" y="67056"/>
                </a:moveTo>
                <a:lnTo>
                  <a:pt x="21336" y="67056"/>
                </a:lnTo>
                <a:lnTo>
                  <a:pt x="39454" y="60960"/>
                </a:lnTo>
                <a:lnTo>
                  <a:pt x="57573" y="67056"/>
                </a:lnTo>
                <a:close/>
              </a:path>
              <a:path w="681354" h="121920">
                <a:moveTo>
                  <a:pt x="536143" y="109728"/>
                </a:moveTo>
                <a:lnTo>
                  <a:pt x="496824" y="109728"/>
                </a:lnTo>
                <a:lnTo>
                  <a:pt x="640418" y="60960"/>
                </a:lnTo>
                <a:lnTo>
                  <a:pt x="658368" y="67056"/>
                </a:lnTo>
                <a:lnTo>
                  <a:pt x="663092" y="67056"/>
                </a:lnTo>
                <a:lnTo>
                  <a:pt x="536143" y="1097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2" name="object 212"/>
          <p:cNvSpPr/>
          <p:nvPr/>
        </p:nvSpPr>
        <p:spPr>
          <a:xfrm>
            <a:off x="7349266" y="4202206"/>
            <a:ext cx="564776" cy="96931"/>
          </a:xfrm>
          <a:custGeom>
            <a:avLst/>
            <a:gdLst/>
            <a:ahLst/>
            <a:cxnLst/>
            <a:rect l="l" t="t" r="r" b="b"/>
            <a:pathLst>
              <a:path w="640079" h="109854">
                <a:moveTo>
                  <a:pt x="477012" y="109728"/>
                </a:moveTo>
                <a:lnTo>
                  <a:pt x="161544" y="109728"/>
                </a:lnTo>
                <a:lnTo>
                  <a:pt x="0" y="54864"/>
                </a:lnTo>
                <a:lnTo>
                  <a:pt x="161544" y="0"/>
                </a:lnTo>
                <a:lnTo>
                  <a:pt x="477012" y="0"/>
                </a:lnTo>
                <a:lnTo>
                  <a:pt x="640080" y="54864"/>
                </a:lnTo>
                <a:lnTo>
                  <a:pt x="477012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3" name="object 213"/>
          <p:cNvSpPr/>
          <p:nvPr/>
        </p:nvSpPr>
        <p:spPr>
          <a:xfrm>
            <a:off x="7331784" y="4195482"/>
            <a:ext cx="600075" cy="109257"/>
          </a:xfrm>
          <a:custGeom>
            <a:avLst/>
            <a:gdLst/>
            <a:ahLst/>
            <a:cxnLst/>
            <a:rect l="l" t="t" r="r" b="b"/>
            <a:pathLst>
              <a:path w="680084" h="123825">
                <a:moveTo>
                  <a:pt x="498348" y="123444"/>
                </a:moveTo>
                <a:lnTo>
                  <a:pt x="181356" y="123444"/>
                </a:lnTo>
                <a:lnTo>
                  <a:pt x="0" y="62484"/>
                </a:lnTo>
                <a:lnTo>
                  <a:pt x="181356" y="0"/>
                </a:lnTo>
                <a:lnTo>
                  <a:pt x="498348" y="0"/>
                </a:lnTo>
                <a:lnTo>
                  <a:pt x="533734" y="12192"/>
                </a:lnTo>
                <a:lnTo>
                  <a:pt x="184404" y="12192"/>
                </a:lnTo>
                <a:lnTo>
                  <a:pt x="56593" y="56388"/>
                </a:lnTo>
                <a:lnTo>
                  <a:pt x="21336" y="56388"/>
                </a:lnTo>
                <a:lnTo>
                  <a:pt x="21336" y="68580"/>
                </a:lnTo>
                <a:lnTo>
                  <a:pt x="57573" y="68580"/>
                </a:lnTo>
                <a:lnTo>
                  <a:pt x="184404" y="111252"/>
                </a:lnTo>
                <a:lnTo>
                  <a:pt x="534619" y="111252"/>
                </a:lnTo>
                <a:lnTo>
                  <a:pt x="498348" y="123444"/>
                </a:lnTo>
                <a:close/>
              </a:path>
              <a:path w="680084" h="123825">
                <a:moveTo>
                  <a:pt x="496824" y="13716"/>
                </a:moveTo>
                <a:lnTo>
                  <a:pt x="181356" y="13716"/>
                </a:lnTo>
                <a:lnTo>
                  <a:pt x="184404" y="12192"/>
                </a:lnTo>
                <a:lnTo>
                  <a:pt x="495300" y="12192"/>
                </a:lnTo>
                <a:lnTo>
                  <a:pt x="496824" y="13716"/>
                </a:lnTo>
                <a:close/>
              </a:path>
              <a:path w="680084" h="123825">
                <a:moveTo>
                  <a:pt x="640497" y="62400"/>
                </a:moveTo>
                <a:lnTo>
                  <a:pt x="495300" y="12192"/>
                </a:lnTo>
                <a:lnTo>
                  <a:pt x="533734" y="12192"/>
                </a:lnTo>
                <a:lnTo>
                  <a:pt x="662010" y="56388"/>
                </a:lnTo>
                <a:lnTo>
                  <a:pt x="658368" y="56388"/>
                </a:lnTo>
                <a:lnTo>
                  <a:pt x="640497" y="62400"/>
                </a:lnTo>
                <a:close/>
              </a:path>
              <a:path w="680084" h="123825">
                <a:moveTo>
                  <a:pt x="21336" y="68580"/>
                </a:moveTo>
                <a:lnTo>
                  <a:pt x="21336" y="56388"/>
                </a:lnTo>
                <a:lnTo>
                  <a:pt x="39206" y="62400"/>
                </a:lnTo>
                <a:lnTo>
                  <a:pt x="21336" y="68580"/>
                </a:lnTo>
                <a:close/>
              </a:path>
              <a:path w="680084" h="123825">
                <a:moveTo>
                  <a:pt x="39206" y="62400"/>
                </a:moveTo>
                <a:lnTo>
                  <a:pt x="21336" y="56388"/>
                </a:lnTo>
                <a:lnTo>
                  <a:pt x="56593" y="56388"/>
                </a:lnTo>
                <a:lnTo>
                  <a:pt x="39206" y="62400"/>
                </a:lnTo>
                <a:close/>
              </a:path>
              <a:path w="680084" h="123825">
                <a:moveTo>
                  <a:pt x="658368" y="68580"/>
                </a:moveTo>
                <a:lnTo>
                  <a:pt x="640497" y="62400"/>
                </a:lnTo>
                <a:lnTo>
                  <a:pt x="658368" y="56388"/>
                </a:lnTo>
                <a:lnTo>
                  <a:pt x="658368" y="68580"/>
                </a:lnTo>
                <a:close/>
              </a:path>
              <a:path w="680084" h="123825">
                <a:moveTo>
                  <a:pt x="661568" y="68580"/>
                </a:moveTo>
                <a:lnTo>
                  <a:pt x="658368" y="68580"/>
                </a:lnTo>
                <a:lnTo>
                  <a:pt x="658368" y="56388"/>
                </a:lnTo>
                <a:lnTo>
                  <a:pt x="662010" y="56388"/>
                </a:lnTo>
                <a:lnTo>
                  <a:pt x="679704" y="62484"/>
                </a:lnTo>
                <a:lnTo>
                  <a:pt x="661568" y="68580"/>
                </a:lnTo>
                <a:close/>
              </a:path>
              <a:path w="680084" h="123825">
                <a:moveTo>
                  <a:pt x="57573" y="68580"/>
                </a:moveTo>
                <a:lnTo>
                  <a:pt x="21336" y="68580"/>
                </a:lnTo>
                <a:lnTo>
                  <a:pt x="39206" y="62400"/>
                </a:lnTo>
                <a:lnTo>
                  <a:pt x="57573" y="68580"/>
                </a:lnTo>
                <a:close/>
              </a:path>
              <a:path w="680084" h="123825">
                <a:moveTo>
                  <a:pt x="534619" y="111252"/>
                </a:moveTo>
                <a:lnTo>
                  <a:pt x="495300" y="111252"/>
                </a:lnTo>
                <a:lnTo>
                  <a:pt x="640497" y="62400"/>
                </a:lnTo>
                <a:lnTo>
                  <a:pt x="658368" y="68580"/>
                </a:lnTo>
                <a:lnTo>
                  <a:pt x="661568" y="68580"/>
                </a:lnTo>
                <a:lnTo>
                  <a:pt x="534619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4" name="object 214"/>
          <p:cNvSpPr/>
          <p:nvPr/>
        </p:nvSpPr>
        <p:spPr>
          <a:xfrm>
            <a:off x="7349266" y="4307093"/>
            <a:ext cx="564776" cy="98612"/>
          </a:xfrm>
          <a:custGeom>
            <a:avLst/>
            <a:gdLst/>
            <a:ahLst/>
            <a:cxnLst/>
            <a:rect l="l" t="t" r="r" b="b"/>
            <a:pathLst>
              <a:path w="640079" h="111760">
                <a:moveTo>
                  <a:pt x="477012" y="111252"/>
                </a:moveTo>
                <a:lnTo>
                  <a:pt x="161544" y="111252"/>
                </a:lnTo>
                <a:lnTo>
                  <a:pt x="0" y="56388"/>
                </a:lnTo>
                <a:lnTo>
                  <a:pt x="161544" y="0"/>
                </a:lnTo>
                <a:lnTo>
                  <a:pt x="477012" y="0"/>
                </a:lnTo>
                <a:lnTo>
                  <a:pt x="640080" y="56388"/>
                </a:lnTo>
                <a:lnTo>
                  <a:pt x="477012" y="111252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5" name="object 215"/>
          <p:cNvSpPr/>
          <p:nvPr/>
        </p:nvSpPr>
        <p:spPr>
          <a:xfrm>
            <a:off x="7331784" y="4301715"/>
            <a:ext cx="600075" cy="109257"/>
          </a:xfrm>
          <a:custGeom>
            <a:avLst/>
            <a:gdLst/>
            <a:ahLst/>
            <a:cxnLst/>
            <a:rect l="l" t="t" r="r" b="b"/>
            <a:pathLst>
              <a:path w="680084" h="123825">
                <a:moveTo>
                  <a:pt x="498348" y="123444"/>
                </a:moveTo>
                <a:lnTo>
                  <a:pt x="181356" y="123444"/>
                </a:lnTo>
                <a:lnTo>
                  <a:pt x="0" y="62484"/>
                </a:lnTo>
                <a:lnTo>
                  <a:pt x="181356" y="0"/>
                </a:lnTo>
                <a:lnTo>
                  <a:pt x="498348" y="0"/>
                </a:lnTo>
                <a:lnTo>
                  <a:pt x="533734" y="12192"/>
                </a:lnTo>
                <a:lnTo>
                  <a:pt x="184404" y="12192"/>
                </a:lnTo>
                <a:lnTo>
                  <a:pt x="53043" y="56388"/>
                </a:lnTo>
                <a:lnTo>
                  <a:pt x="21336" y="56388"/>
                </a:lnTo>
                <a:lnTo>
                  <a:pt x="21336" y="67056"/>
                </a:lnTo>
                <a:lnTo>
                  <a:pt x="53043" y="67056"/>
                </a:lnTo>
                <a:lnTo>
                  <a:pt x="184404" y="111252"/>
                </a:lnTo>
                <a:lnTo>
                  <a:pt x="534619" y="111252"/>
                </a:lnTo>
                <a:lnTo>
                  <a:pt x="498348" y="123444"/>
                </a:lnTo>
                <a:close/>
              </a:path>
              <a:path w="680084" h="123825">
                <a:moveTo>
                  <a:pt x="496824" y="13716"/>
                </a:moveTo>
                <a:lnTo>
                  <a:pt x="181356" y="13716"/>
                </a:lnTo>
                <a:lnTo>
                  <a:pt x="184404" y="12192"/>
                </a:lnTo>
                <a:lnTo>
                  <a:pt x="495300" y="12192"/>
                </a:lnTo>
                <a:lnTo>
                  <a:pt x="496824" y="13716"/>
                </a:lnTo>
                <a:close/>
              </a:path>
              <a:path w="680084" h="123825">
                <a:moveTo>
                  <a:pt x="642514" y="61722"/>
                </a:moveTo>
                <a:lnTo>
                  <a:pt x="495300" y="12192"/>
                </a:lnTo>
                <a:lnTo>
                  <a:pt x="533734" y="12192"/>
                </a:lnTo>
                <a:lnTo>
                  <a:pt x="662010" y="56388"/>
                </a:lnTo>
                <a:lnTo>
                  <a:pt x="658368" y="56388"/>
                </a:lnTo>
                <a:lnTo>
                  <a:pt x="642514" y="61722"/>
                </a:lnTo>
                <a:close/>
              </a:path>
              <a:path w="680084" h="123825">
                <a:moveTo>
                  <a:pt x="21336" y="67056"/>
                </a:moveTo>
                <a:lnTo>
                  <a:pt x="21336" y="56388"/>
                </a:lnTo>
                <a:lnTo>
                  <a:pt x="37189" y="61722"/>
                </a:lnTo>
                <a:lnTo>
                  <a:pt x="21336" y="67056"/>
                </a:lnTo>
                <a:close/>
              </a:path>
              <a:path w="680084" h="123825">
                <a:moveTo>
                  <a:pt x="37189" y="61722"/>
                </a:moveTo>
                <a:lnTo>
                  <a:pt x="21336" y="56388"/>
                </a:lnTo>
                <a:lnTo>
                  <a:pt x="53043" y="56388"/>
                </a:lnTo>
                <a:lnTo>
                  <a:pt x="37189" y="61722"/>
                </a:lnTo>
                <a:close/>
              </a:path>
              <a:path w="680084" h="123825">
                <a:moveTo>
                  <a:pt x="658368" y="67056"/>
                </a:moveTo>
                <a:lnTo>
                  <a:pt x="642514" y="61722"/>
                </a:lnTo>
                <a:lnTo>
                  <a:pt x="658368" y="56388"/>
                </a:lnTo>
                <a:lnTo>
                  <a:pt x="658368" y="67056"/>
                </a:lnTo>
                <a:close/>
              </a:path>
              <a:path w="680084" h="123825">
                <a:moveTo>
                  <a:pt x="666102" y="67056"/>
                </a:moveTo>
                <a:lnTo>
                  <a:pt x="658368" y="67056"/>
                </a:lnTo>
                <a:lnTo>
                  <a:pt x="658368" y="56388"/>
                </a:lnTo>
                <a:lnTo>
                  <a:pt x="662010" y="56388"/>
                </a:lnTo>
                <a:lnTo>
                  <a:pt x="679704" y="62484"/>
                </a:lnTo>
                <a:lnTo>
                  <a:pt x="666102" y="67056"/>
                </a:lnTo>
                <a:close/>
              </a:path>
              <a:path w="680084" h="123825">
                <a:moveTo>
                  <a:pt x="53043" y="67056"/>
                </a:moveTo>
                <a:lnTo>
                  <a:pt x="21336" y="67056"/>
                </a:lnTo>
                <a:lnTo>
                  <a:pt x="37189" y="61722"/>
                </a:lnTo>
                <a:lnTo>
                  <a:pt x="53043" y="67056"/>
                </a:lnTo>
                <a:close/>
              </a:path>
              <a:path w="680084" h="123825">
                <a:moveTo>
                  <a:pt x="534619" y="111252"/>
                </a:moveTo>
                <a:lnTo>
                  <a:pt x="495300" y="111252"/>
                </a:lnTo>
                <a:lnTo>
                  <a:pt x="642514" y="61722"/>
                </a:lnTo>
                <a:lnTo>
                  <a:pt x="658368" y="67056"/>
                </a:lnTo>
                <a:lnTo>
                  <a:pt x="666102" y="67056"/>
                </a:lnTo>
                <a:lnTo>
                  <a:pt x="534619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6" name="object 216"/>
          <p:cNvSpPr/>
          <p:nvPr/>
        </p:nvSpPr>
        <p:spPr>
          <a:xfrm>
            <a:off x="7349266" y="4413325"/>
            <a:ext cx="564776" cy="98612"/>
          </a:xfrm>
          <a:custGeom>
            <a:avLst/>
            <a:gdLst/>
            <a:ahLst/>
            <a:cxnLst/>
            <a:rect l="l" t="t" r="r" b="b"/>
            <a:pathLst>
              <a:path w="640079" h="111760">
                <a:moveTo>
                  <a:pt x="477012" y="111252"/>
                </a:moveTo>
                <a:lnTo>
                  <a:pt x="161544" y="111252"/>
                </a:lnTo>
                <a:lnTo>
                  <a:pt x="0" y="54864"/>
                </a:lnTo>
                <a:lnTo>
                  <a:pt x="161544" y="0"/>
                </a:lnTo>
                <a:lnTo>
                  <a:pt x="477012" y="0"/>
                </a:lnTo>
                <a:lnTo>
                  <a:pt x="640080" y="54864"/>
                </a:lnTo>
                <a:lnTo>
                  <a:pt x="477012" y="111252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7" name="object 217"/>
          <p:cNvSpPr/>
          <p:nvPr/>
        </p:nvSpPr>
        <p:spPr>
          <a:xfrm>
            <a:off x="7331784" y="4407946"/>
            <a:ext cx="600075" cy="109257"/>
          </a:xfrm>
          <a:custGeom>
            <a:avLst/>
            <a:gdLst/>
            <a:ahLst/>
            <a:cxnLst/>
            <a:rect l="l" t="t" r="r" b="b"/>
            <a:pathLst>
              <a:path w="680084" h="123825">
                <a:moveTo>
                  <a:pt x="498348" y="123444"/>
                </a:moveTo>
                <a:lnTo>
                  <a:pt x="181356" y="123444"/>
                </a:lnTo>
                <a:lnTo>
                  <a:pt x="0" y="60960"/>
                </a:lnTo>
                <a:lnTo>
                  <a:pt x="181356" y="0"/>
                </a:lnTo>
                <a:lnTo>
                  <a:pt x="498348" y="0"/>
                </a:lnTo>
                <a:lnTo>
                  <a:pt x="534619" y="12192"/>
                </a:lnTo>
                <a:lnTo>
                  <a:pt x="184404" y="12192"/>
                </a:lnTo>
                <a:lnTo>
                  <a:pt x="57573" y="54864"/>
                </a:lnTo>
                <a:lnTo>
                  <a:pt x="21336" y="54864"/>
                </a:lnTo>
                <a:lnTo>
                  <a:pt x="21336" y="67056"/>
                </a:lnTo>
                <a:lnTo>
                  <a:pt x="56593" y="67056"/>
                </a:lnTo>
                <a:lnTo>
                  <a:pt x="184404" y="111252"/>
                </a:lnTo>
                <a:lnTo>
                  <a:pt x="533734" y="111252"/>
                </a:lnTo>
                <a:lnTo>
                  <a:pt x="498348" y="123444"/>
                </a:lnTo>
                <a:close/>
              </a:path>
              <a:path w="680084" h="123825">
                <a:moveTo>
                  <a:pt x="640497" y="61043"/>
                </a:moveTo>
                <a:lnTo>
                  <a:pt x="495300" y="12192"/>
                </a:lnTo>
                <a:lnTo>
                  <a:pt x="534619" y="12192"/>
                </a:lnTo>
                <a:lnTo>
                  <a:pt x="661568" y="54864"/>
                </a:lnTo>
                <a:lnTo>
                  <a:pt x="658368" y="54864"/>
                </a:lnTo>
                <a:lnTo>
                  <a:pt x="640497" y="61043"/>
                </a:lnTo>
                <a:close/>
              </a:path>
              <a:path w="680084" h="123825">
                <a:moveTo>
                  <a:pt x="21336" y="67056"/>
                </a:moveTo>
                <a:lnTo>
                  <a:pt x="21336" y="54864"/>
                </a:lnTo>
                <a:lnTo>
                  <a:pt x="39206" y="61043"/>
                </a:lnTo>
                <a:lnTo>
                  <a:pt x="21336" y="67056"/>
                </a:lnTo>
                <a:close/>
              </a:path>
              <a:path w="680084" h="123825">
                <a:moveTo>
                  <a:pt x="39206" y="61043"/>
                </a:moveTo>
                <a:lnTo>
                  <a:pt x="21336" y="54864"/>
                </a:lnTo>
                <a:lnTo>
                  <a:pt x="57573" y="54864"/>
                </a:lnTo>
                <a:lnTo>
                  <a:pt x="39206" y="61043"/>
                </a:lnTo>
                <a:close/>
              </a:path>
              <a:path w="680084" h="123825">
                <a:moveTo>
                  <a:pt x="658368" y="67056"/>
                </a:moveTo>
                <a:lnTo>
                  <a:pt x="640497" y="61043"/>
                </a:lnTo>
                <a:lnTo>
                  <a:pt x="658368" y="54864"/>
                </a:lnTo>
                <a:lnTo>
                  <a:pt x="658368" y="67056"/>
                </a:lnTo>
                <a:close/>
              </a:path>
              <a:path w="680084" h="123825">
                <a:moveTo>
                  <a:pt x="662010" y="67056"/>
                </a:moveTo>
                <a:lnTo>
                  <a:pt x="658368" y="67056"/>
                </a:lnTo>
                <a:lnTo>
                  <a:pt x="658368" y="54864"/>
                </a:lnTo>
                <a:lnTo>
                  <a:pt x="661568" y="54864"/>
                </a:lnTo>
                <a:lnTo>
                  <a:pt x="679704" y="60960"/>
                </a:lnTo>
                <a:lnTo>
                  <a:pt x="662010" y="67056"/>
                </a:lnTo>
                <a:close/>
              </a:path>
              <a:path w="680084" h="123825">
                <a:moveTo>
                  <a:pt x="56593" y="67056"/>
                </a:moveTo>
                <a:lnTo>
                  <a:pt x="21336" y="67056"/>
                </a:lnTo>
                <a:lnTo>
                  <a:pt x="39206" y="61043"/>
                </a:lnTo>
                <a:lnTo>
                  <a:pt x="56593" y="67056"/>
                </a:lnTo>
                <a:close/>
              </a:path>
              <a:path w="680084" h="123825">
                <a:moveTo>
                  <a:pt x="533734" y="111252"/>
                </a:moveTo>
                <a:lnTo>
                  <a:pt x="495300" y="111252"/>
                </a:lnTo>
                <a:lnTo>
                  <a:pt x="640497" y="61043"/>
                </a:lnTo>
                <a:lnTo>
                  <a:pt x="658368" y="67056"/>
                </a:lnTo>
                <a:lnTo>
                  <a:pt x="662010" y="67056"/>
                </a:lnTo>
                <a:lnTo>
                  <a:pt x="533734" y="111252"/>
                </a:lnTo>
                <a:close/>
              </a:path>
              <a:path w="680084" h="123825">
                <a:moveTo>
                  <a:pt x="495300" y="111252"/>
                </a:moveTo>
                <a:lnTo>
                  <a:pt x="184404" y="111252"/>
                </a:lnTo>
                <a:lnTo>
                  <a:pt x="181356" y="109728"/>
                </a:lnTo>
                <a:lnTo>
                  <a:pt x="496824" y="109728"/>
                </a:lnTo>
                <a:lnTo>
                  <a:pt x="495300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8" name="object 218"/>
          <p:cNvSpPr/>
          <p:nvPr/>
        </p:nvSpPr>
        <p:spPr>
          <a:xfrm>
            <a:off x="7404399" y="4787153"/>
            <a:ext cx="157330" cy="155985"/>
          </a:xfrm>
          <a:prstGeom prst="rect">
            <a:avLst/>
          </a:prstGeom>
          <a:blipFill>
            <a:blip r:embed="rId9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9" name="object 219"/>
          <p:cNvSpPr/>
          <p:nvPr/>
        </p:nvSpPr>
        <p:spPr>
          <a:xfrm>
            <a:off x="6725322" y="4097319"/>
            <a:ext cx="157331" cy="157331"/>
          </a:xfrm>
          <a:prstGeom prst="rect">
            <a:avLst/>
          </a:prstGeom>
          <a:blipFill>
            <a:blip r:embed="rId9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20" name="object 220"/>
          <p:cNvSpPr/>
          <p:nvPr/>
        </p:nvSpPr>
        <p:spPr>
          <a:xfrm>
            <a:off x="7614172" y="4097319"/>
            <a:ext cx="155986" cy="157331"/>
          </a:xfrm>
          <a:prstGeom prst="rect">
            <a:avLst/>
          </a:prstGeom>
          <a:blipFill>
            <a:blip r:embed="rId9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21" name="object 221"/>
          <p:cNvSpPr/>
          <p:nvPr/>
        </p:nvSpPr>
        <p:spPr>
          <a:xfrm>
            <a:off x="7143526" y="4255993"/>
            <a:ext cx="155986" cy="158675"/>
          </a:xfrm>
          <a:prstGeom prst="rect">
            <a:avLst/>
          </a:prstGeom>
          <a:blipFill>
            <a:blip r:embed="rId9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22" name="object 222"/>
          <p:cNvSpPr/>
          <p:nvPr/>
        </p:nvSpPr>
        <p:spPr>
          <a:xfrm>
            <a:off x="7404399" y="3832412"/>
            <a:ext cx="157330" cy="158674"/>
          </a:xfrm>
          <a:prstGeom prst="rect">
            <a:avLst/>
          </a:prstGeom>
          <a:blipFill>
            <a:blip r:embed="rId9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23" name="object 223"/>
          <p:cNvSpPr/>
          <p:nvPr/>
        </p:nvSpPr>
        <p:spPr>
          <a:xfrm>
            <a:off x="6987540" y="3675080"/>
            <a:ext cx="155985" cy="155986"/>
          </a:xfrm>
          <a:prstGeom prst="rect">
            <a:avLst/>
          </a:prstGeom>
          <a:blipFill>
            <a:blip r:embed="rId9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24" name="object 224"/>
          <p:cNvSpPr/>
          <p:nvPr/>
        </p:nvSpPr>
        <p:spPr>
          <a:xfrm>
            <a:off x="7143526" y="3197710"/>
            <a:ext cx="155986" cy="155986"/>
          </a:xfrm>
          <a:prstGeom prst="rect">
            <a:avLst/>
          </a:prstGeom>
          <a:blipFill>
            <a:blip r:embed="rId9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25" name="object 225"/>
          <p:cNvSpPr/>
          <p:nvPr/>
        </p:nvSpPr>
        <p:spPr>
          <a:xfrm>
            <a:off x="7572487" y="3355040"/>
            <a:ext cx="157330" cy="158675"/>
          </a:xfrm>
          <a:prstGeom prst="rect">
            <a:avLst/>
          </a:prstGeom>
          <a:blipFill>
            <a:blip r:embed="rId9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26" name="object 226"/>
          <p:cNvSpPr/>
          <p:nvPr/>
        </p:nvSpPr>
        <p:spPr>
          <a:xfrm>
            <a:off x="7572487" y="3037690"/>
            <a:ext cx="157330" cy="158675"/>
          </a:xfrm>
          <a:prstGeom prst="rect">
            <a:avLst/>
          </a:prstGeom>
          <a:blipFill>
            <a:blip r:embed="rId10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27" name="object 227"/>
          <p:cNvSpPr/>
          <p:nvPr/>
        </p:nvSpPr>
        <p:spPr>
          <a:xfrm>
            <a:off x="6725323" y="3037690"/>
            <a:ext cx="158675" cy="158675"/>
          </a:xfrm>
          <a:prstGeom prst="rect">
            <a:avLst/>
          </a:prstGeom>
          <a:blipFill>
            <a:blip r:embed="rId10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28" name="object 228"/>
          <p:cNvSpPr/>
          <p:nvPr/>
        </p:nvSpPr>
        <p:spPr>
          <a:xfrm>
            <a:off x="6781801" y="2829261"/>
            <a:ext cx="566457" cy="98612"/>
          </a:xfrm>
          <a:custGeom>
            <a:avLst/>
            <a:gdLst/>
            <a:ahLst/>
            <a:cxnLst/>
            <a:rect l="l" t="t" r="r" b="b"/>
            <a:pathLst>
              <a:path w="641985" h="111760">
                <a:moveTo>
                  <a:pt x="478536" y="111252"/>
                </a:moveTo>
                <a:lnTo>
                  <a:pt x="163068" y="111252"/>
                </a:lnTo>
                <a:lnTo>
                  <a:pt x="0" y="56388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6388"/>
                </a:lnTo>
                <a:lnTo>
                  <a:pt x="478536" y="111252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29" name="object 229"/>
          <p:cNvSpPr/>
          <p:nvPr/>
        </p:nvSpPr>
        <p:spPr>
          <a:xfrm>
            <a:off x="6764319" y="2823883"/>
            <a:ext cx="601196" cy="109257"/>
          </a:xfrm>
          <a:custGeom>
            <a:avLst/>
            <a:gdLst/>
            <a:ahLst/>
            <a:cxnLst/>
            <a:rect l="l" t="t" r="r" b="b"/>
            <a:pathLst>
              <a:path w="681354" h="123825">
                <a:moveTo>
                  <a:pt x="499872" y="123444"/>
                </a:moveTo>
                <a:lnTo>
                  <a:pt x="182880" y="123444"/>
                </a:lnTo>
                <a:lnTo>
                  <a:pt x="0" y="62484"/>
                </a:lnTo>
                <a:lnTo>
                  <a:pt x="182880" y="0"/>
                </a:lnTo>
                <a:lnTo>
                  <a:pt x="499872" y="0"/>
                </a:lnTo>
                <a:lnTo>
                  <a:pt x="535258" y="12192"/>
                </a:lnTo>
                <a:lnTo>
                  <a:pt x="185928" y="12192"/>
                </a:lnTo>
                <a:lnTo>
                  <a:pt x="58117" y="56388"/>
                </a:lnTo>
                <a:lnTo>
                  <a:pt x="22860" y="56388"/>
                </a:lnTo>
                <a:lnTo>
                  <a:pt x="22860" y="68580"/>
                </a:lnTo>
                <a:lnTo>
                  <a:pt x="59097" y="68580"/>
                </a:lnTo>
                <a:lnTo>
                  <a:pt x="185928" y="111252"/>
                </a:lnTo>
                <a:lnTo>
                  <a:pt x="536143" y="111252"/>
                </a:lnTo>
                <a:lnTo>
                  <a:pt x="499872" y="123444"/>
                </a:lnTo>
                <a:close/>
              </a:path>
              <a:path w="681354" h="123825">
                <a:moveTo>
                  <a:pt x="498348" y="13716"/>
                </a:moveTo>
                <a:lnTo>
                  <a:pt x="182880" y="13716"/>
                </a:lnTo>
                <a:lnTo>
                  <a:pt x="185928" y="12192"/>
                </a:lnTo>
                <a:lnTo>
                  <a:pt x="496824" y="12192"/>
                </a:lnTo>
                <a:lnTo>
                  <a:pt x="498348" y="13716"/>
                </a:lnTo>
                <a:close/>
              </a:path>
              <a:path w="681354" h="123825">
                <a:moveTo>
                  <a:pt x="642021" y="62400"/>
                </a:moveTo>
                <a:lnTo>
                  <a:pt x="496824" y="12192"/>
                </a:lnTo>
                <a:lnTo>
                  <a:pt x="535258" y="12192"/>
                </a:lnTo>
                <a:lnTo>
                  <a:pt x="663534" y="56388"/>
                </a:lnTo>
                <a:lnTo>
                  <a:pt x="659892" y="56388"/>
                </a:lnTo>
                <a:lnTo>
                  <a:pt x="642021" y="62400"/>
                </a:lnTo>
                <a:close/>
              </a:path>
              <a:path w="681354" h="123825">
                <a:moveTo>
                  <a:pt x="22860" y="68580"/>
                </a:moveTo>
                <a:lnTo>
                  <a:pt x="22860" y="56388"/>
                </a:lnTo>
                <a:lnTo>
                  <a:pt x="40730" y="62400"/>
                </a:lnTo>
                <a:lnTo>
                  <a:pt x="22860" y="68580"/>
                </a:lnTo>
                <a:close/>
              </a:path>
              <a:path w="681354" h="123825">
                <a:moveTo>
                  <a:pt x="40730" y="62400"/>
                </a:moveTo>
                <a:lnTo>
                  <a:pt x="22860" y="56388"/>
                </a:lnTo>
                <a:lnTo>
                  <a:pt x="58117" y="56388"/>
                </a:lnTo>
                <a:lnTo>
                  <a:pt x="40730" y="62400"/>
                </a:lnTo>
                <a:close/>
              </a:path>
              <a:path w="681354" h="123825">
                <a:moveTo>
                  <a:pt x="659892" y="68580"/>
                </a:moveTo>
                <a:lnTo>
                  <a:pt x="642021" y="62400"/>
                </a:lnTo>
                <a:lnTo>
                  <a:pt x="659892" y="56388"/>
                </a:lnTo>
                <a:lnTo>
                  <a:pt x="659892" y="68580"/>
                </a:lnTo>
                <a:close/>
              </a:path>
              <a:path w="681354" h="123825">
                <a:moveTo>
                  <a:pt x="663092" y="68580"/>
                </a:moveTo>
                <a:lnTo>
                  <a:pt x="659892" y="68580"/>
                </a:lnTo>
                <a:lnTo>
                  <a:pt x="659892" y="56388"/>
                </a:lnTo>
                <a:lnTo>
                  <a:pt x="663534" y="56388"/>
                </a:lnTo>
                <a:lnTo>
                  <a:pt x="681228" y="62484"/>
                </a:lnTo>
                <a:lnTo>
                  <a:pt x="663092" y="68580"/>
                </a:lnTo>
                <a:close/>
              </a:path>
              <a:path w="681354" h="123825">
                <a:moveTo>
                  <a:pt x="59097" y="68580"/>
                </a:moveTo>
                <a:lnTo>
                  <a:pt x="22860" y="68580"/>
                </a:lnTo>
                <a:lnTo>
                  <a:pt x="40730" y="62400"/>
                </a:lnTo>
                <a:lnTo>
                  <a:pt x="59097" y="68580"/>
                </a:lnTo>
                <a:close/>
              </a:path>
              <a:path w="681354" h="123825">
                <a:moveTo>
                  <a:pt x="536143" y="111252"/>
                </a:moveTo>
                <a:lnTo>
                  <a:pt x="496824" y="111252"/>
                </a:lnTo>
                <a:lnTo>
                  <a:pt x="642021" y="62400"/>
                </a:lnTo>
                <a:lnTo>
                  <a:pt x="659892" y="68580"/>
                </a:lnTo>
                <a:lnTo>
                  <a:pt x="663092" y="68580"/>
                </a:lnTo>
                <a:lnTo>
                  <a:pt x="536143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30" name="object 230"/>
          <p:cNvSpPr/>
          <p:nvPr/>
        </p:nvSpPr>
        <p:spPr>
          <a:xfrm>
            <a:off x="6364941" y="2670586"/>
            <a:ext cx="564776" cy="96931"/>
          </a:xfrm>
          <a:custGeom>
            <a:avLst/>
            <a:gdLst/>
            <a:ahLst/>
            <a:cxnLst/>
            <a:rect l="l" t="t" r="r" b="b"/>
            <a:pathLst>
              <a:path w="640079" h="109855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0080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31" name="object 231"/>
          <p:cNvSpPr/>
          <p:nvPr/>
        </p:nvSpPr>
        <p:spPr>
          <a:xfrm>
            <a:off x="6347460" y="2665207"/>
            <a:ext cx="600075" cy="109257"/>
          </a:xfrm>
          <a:custGeom>
            <a:avLst/>
            <a:gdLst/>
            <a:ahLst/>
            <a:cxnLst/>
            <a:rect l="l" t="t" r="r" b="b"/>
            <a:pathLst>
              <a:path w="680085" h="123825">
                <a:moveTo>
                  <a:pt x="498348" y="123444"/>
                </a:moveTo>
                <a:lnTo>
                  <a:pt x="181356" y="123444"/>
                </a:lnTo>
                <a:lnTo>
                  <a:pt x="0" y="60960"/>
                </a:lnTo>
                <a:lnTo>
                  <a:pt x="181356" y="0"/>
                </a:lnTo>
                <a:lnTo>
                  <a:pt x="498348" y="0"/>
                </a:lnTo>
                <a:lnTo>
                  <a:pt x="534619" y="12192"/>
                </a:lnTo>
                <a:lnTo>
                  <a:pt x="184404" y="12192"/>
                </a:lnTo>
                <a:lnTo>
                  <a:pt x="57573" y="54864"/>
                </a:lnTo>
                <a:lnTo>
                  <a:pt x="21336" y="54864"/>
                </a:lnTo>
                <a:lnTo>
                  <a:pt x="21336" y="67056"/>
                </a:lnTo>
                <a:lnTo>
                  <a:pt x="57573" y="67056"/>
                </a:lnTo>
                <a:lnTo>
                  <a:pt x="184404" y="109728"/>
                </a:lnTo>
                <a:lnTo>
                  <a:pt x="538157" y="109728"/>
                </a:lnTo>
                <a:lnTo>
                  <a:pt x="498348" y="123444"/>
                </a:lnTo>
                <a:close/>
              </a:path>
              <a:path w="680085" h="123825">
                <a:moveTo>
                  <a:pt x="640249" y="60960"/>
                </a:moveTo>
                <a:lnTo>
                  <a:pt x="495300" y="12192"/>
                </a:lnTo>
                <a:lnTo>
                  <a:pt x="534619" y="12192"/>
                </a:lnTo>
                <a:lnTo>
                  <a:pt x="661568" y="54864"/>
                </a:lnTo>
                <a:lnTo>
                  <a:pt x="658368" y="54864"/>
                </a:lnTo>
                <a:lnTo>
                  <a:pt x="640249" y="60960"/>
                </a:lnTo>
                <a:close/>
              </a:path>
              <a:path w="680085" h="123825">
                <a:moveTo>
                  <a:pt x="21336" y="67056"/>
                </a:moveTo>
                <a:lnTo>
                  <a:pt x="21336" y="54864"/>
                </a:lnTo>
                <a:lnTo>
                  <a:pt x="39454" y="60960"/>
                </a:lnTo>
                <a:lnTo>
                  <a:pt x="21336" y="67056"/>
                </a:lnTo>
                <a:close/>
              </a:path>
              <a:path w="680085" h="123825">
                <a:moveTo>
                  <a:pt x="39454" y="60960"/>
                </a:moveTo>
                <a:lnTo>
                  <a:pt x="21336" y="54864"/>
                </a:lnTo>
                <a:lnTo>
                  <a:pt x="57573" y="54864"/>
                </a:lnTo>
                <a:lnTo>
                  <a:pt x="39454" y="60960"/>
                </a:lnTo>
                <a:close/>
              </a:path>
              <a:path w="680085" h="123825">
                <a:moveTo>
                  <a:pt x="658368" y="67056"/>
                </a:moveTo>
                <a:lnTo>
                  <a:pt x="640249" y="60960"/>
                </a:lnTo>
                <a:lnTo>
                  <a:pt x="658368" y="54864"/>
                </a:lnTo>
                <a:lnTo>
                  <a:pt x="658368" y="67056"/>
                </a:lnTo>
                <a:close/>
              </a:path>
              <a:path w="680085" h="123825">
                <a:moveTo>
                  <a:pt x="662010" y="67056"/>
                </a:moveTo>
                <a:lnTo>
                  <a:pt x="658368" y="67056"/>
                </a:lnTo>
                <a:lnTo>
                  <a:pt x="658368" y="54864"/>
                </a:lnTo>
                <a:lnTo>
                  <a:pt x="661568" y="54864"/>
                </a:lnTo>
                <a:lnTo>
                  <a:pt x="679704" y="60960"/>
                </a:lnTo>
                <a:lnTo>
                  <a:pt x="662010" y="67056"/>
                </a:lnTo>
                <a:close/>
              </a:path>
              <a:path w="680085" h="123825">
                <a:moveTo>
                  <a:pt x="57573" y="67056"/>
                </a:moveTo>
                <a:lnTo>
                  <a:pt x="21336" y="67056"/>
                </a:lnTo>
                <a:lnTo>
                  <a:pt x="39454" y="60960"/>
                </a:lnTo>
                <a:lnTo>
                  <a:pt x="57573" y="67056"/>
                </a:lnTo>
                <a:close/>
              </a:path>
              <a:path w="680085" h="123825">
                <a:moveTo>
                  <a:pt x="538157" y="109728"/>
                </a:moveTo>
                <a:lnTo>
                  <a:pt x="495300" y="109728"/>
                </a:lnTo>
                <a:lnTo>
                  <a:pt x="640249" y="60960"/>
                </a:lnTo>
                <a:lnTo>
                  <a:pt x="658368" y="67056"/>
                </a:lnTo>
                <a:lnTo>
                  <a:pt x="662010" y="67056"/>
                </a:lnTo>
                <a:lnTo>
                  <a:pt x="538157" y="1097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32" name="object 232"/>
          <p:cNvSpPr/>
          <p:nvPr/>
        </p:nvSpPr>
        <p:spPr>
          <a:xfrm>
            <a:off x="6364941" y="2776818"/>
            <a:ext cx="564776" cy="96931"/>
          </a:xfrm>
          <a:custGeom>
            <a:avLst/>
            <a:gdLst/>
            <a:ahLst/>
            <a:cxnLst/>
            <a:rect l="l" t="t" r="r" b="b"/>
            <a:pathLst>
              <a:path w="640079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0080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33" name="object 233"/>
          <p:cNvSpPr/>
          <p:nvPr/>
        </p:nvSpPr>
        <p:spPr>
          <a:xfrm>
            <a:off x="6347460" y="2771439"/>
            <a:ext cx="600075" cy="107576"/>
          </a:xfrm>
          <a:custGeom>
            <a:avLst/>
            <a:gdLst/>
            <a:ahLst/>
            <a:cxnLst/>
            <a:rect l="l" t="t" r="r" b="b"/>
            <a:pathLst>
              <a:path w="680085" h="121920">
                <a:moveTo>
                  <a:pt x="498348" y="121920"/>
                </a:moveTo>
                <a:lnTo>
                  <a:pt x="181356" y="121920"/>
                </a:lnTo>
                <a:lnTo>
                  <a:pt x="0" y="60960"/>
                </a:lnTo>
                <a:lnTo>
                  <a:pt x="181356" y="0"/>
                </a:lnTo>
                <a:lnTo>
                  <a:pt x="498348" y="0"/>
                </a:lnTo>
                <a:lnTo>
                  <a:pt x="534619" y="12192"/>
                </a:lnTo>
                <a:lnTo>
                  <a:pt x="184404" y="12192"/>
                </a:lnTo>
                <a:lnTo>
                  <a:pt x="57573" y="54864"/>
                </a:lnTo>
                <a:lnTo>
                  <a:pt x="21336" y="54864"/>
                </a:lnTo>
                <a:lnTo>
                  <a:pt x="21336" y="67056"/>
                </a:lnTo>
                <a:lnTo>
                  <a:pt x="57573" y="67056"/>
                </a:lnTo>
                <a:lnTo>
                  <a:pt x="184404" y="109728"/>
                </a:lnTo>
                <a:lnTo>
                  <a:pt x="534619" y="109728"/>
                </a:lnTo>
                <a:lnTo>
                  <a:pt x="498348" y="121920"/>
                </a:lnTo>
                <a:close/>
              </a:path>
              <a:path w="680085" h="121920">
                <a:moveTo>
                  <a:pt x="640249" y="60960"/>
                </a:moveTo>
                <a:lnTo>
                  <a:pt x="495300" y="12192"/>
                </a:lnTo>
                <a:lnTo>
                  <a:pt x="534619" y="12192"/>
                </a:lnTo>
                <a:lnTo>
                  <a:pt x="661568" y="54864"/>
                </a:lnTo>
                <a:lnTo>
                  <a:pt x="658368" y="54864"/>
                </a:lnTo>
                <a:lnTo>
                  <a:pt x="640249" y="60960"/>
                </a:lnTo>
                <a:close/>
              </a:path>
              <a:path w="680085" h="121920">
                <a:moveTo>
                  <a:pt x="21336" y="67056"/>
                </a:moveTo>
                <a:lnTo>
                  <a:pt x="21336" y="54864"/>
                </a:lnTo>
                <a:lnTo>
                  <a:pt x="39454" y="60960"/>
                </a:lnTo>
                <a:lnTo>
                  <a:pt x="21336" y="67056"/>
                </a:lnTo>
                <a:close/>
              </a:path>
              <a:path w="680085" h="121920">
                <a:moveTo>
                  <a:pt x="39454" y="60960"/>
                </a:moveTo>
                <a:lnTo>
                  <a:pt x="21336" y="54864"/>
                </a:lnTo>
                <a:lnTo>
                  <a:pt x="57573" y="54864"/>
                </a:lnTo>
                <a:lnTo>
                  <a:pt x="39454" y="60960"/>
                </a:lnTo>
                <a:close/>
              </a:path>
              <a:path w="680085" h="121920">
                <a:moveTo>
                  <a:pt x="658368" y="67056"/>
                </a:moveTo>
                <a:lnTo>
                  <a:pt x="640249" y="60960"/>
                </a:lnTo>
                <a:lnTo>
                  <a:pt x="658368" y="54864"/>
                </a:lnTo>
                <a:lnTo>
                  <a:pt x="658368" y="67056"/>
                </a:lnTo>
                <a:close/>
              </a:path>
              <a:path w="680085" h="121920">
                <a:moveTo>
                  <a:pt x="661568" y="67056"/>
                </a:moveTo>
                <a:lnTo>
                  <a:pt x="658368" y="67056"/>
                </a:lnTo>
                <a:lnTo>
                  <a:pt x="658368" y="54864"/>
                </a:lnTo>
                <a:lnTo>
                  <a:pt x="661568" y="54864"/>
                </a:lnTo>
                <a:lnTo>
                  <a:pt x="679704" y="60960"/>
                </a:lnTo>
                <a:lnTo>
                  <a:pt x="661568" y="67056"/>
                </a:lnTo>
                <a:close/>
              </a:path>
              <a:path w="680085" h="121920">
                <a:moveTo>
                  <a:pt x="57573" y="67056"/>
                </a:moveTo>
                <a:lnTo>
                  <a:pt x="21336" y="67056"/>
                </a:lnTo>
                <a:lnTo>
                  <a:pt x="39454" y="60960"/>
                </a:lnTo>
                <a:lnTo>
                  <a:pt x="57573" y="67056"/>
                </a:lnTo>
                <a:close/>
              </a:path>
              <a:path w="680085" h="121920">
                <a:moveTo>
                  <a:pt x="534619" y="109728"/>
                </a:moveTo>
                <a:lnTo>
                  <a:pt x="495300" y="109728"/>
                </a:lnTo>
                <a:lnTo>
                  <a:pt x="640249" y="60960"/>
                </a:lnTo>
                <a:lnTo>
                  <a:pt x="658368" y="67056"/>
                </a:lnTo>
                <a:lnTo>
                  <a:pt x="661568" y="67056"/>
                </a:lnTo>
                <a:lnTo>
                  <a:pt x="534619" y="1097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34" name="object 234"/>
          <p:cNvSpPr/>
          <p:nvPr/>
        </p:nvSpPr>
        <p:spPr>
          <a:xfrm>
            <a:off x="6364941" y="2883049"/>
            <a:ext cx="564776" cy="96931"/>
          </a:xfrm>
          <a:custGeom>
            <a:avLst/>
            <a:gdLst/>
            <a:ahLst/>
            <a:cxnLst/>
            <a:rect l="l" t="t" r="r" b="b"/>
            <a:pathLst>
              <a:path w="640079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0080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35" name="object 235"/>
          <p:cNvSpPr/>
          <p:nvPr/>
        </p:nvSpPr>
        <p:spPr>
          <a:xfrm>
            <a:off x="6347460" y="2877670"/>
            <a:ext cx="600075" cy="107576"/>
          </a:xfrm>
          <a:custGeom>
            <a:avLst/>
            <a:gdLst/>
            <a:ahLst/>
            <a:cxnLst/>
            <a:rect l="l" t="t" r="r" b="b"/>
            <a:pathLst>
              <a:path w="680085" h="121920">
                <a:moveTo>
                  <a:pt x="498348" y="121920"/>
                </a:moveTo>
                <a:lnTo>
                  <a:pt x="181356" y="121920"/>
                </a:lnTo>
                <a:lnTo>
                  <a:pt x="0" y="60960"/>
                </a:lnTo>
                <a:lnTo>
                  <a:pt x="181356" y="0"/>
                </a:lnTo>
                <a:lnTo>
                  <a:pt x="498348" y="0"/>
                </a:lnTo>
                <a:lnTo>
                  <a:pt x="534619" y="12192"/>
                </a:lnTo>
                <a:lnTo>
                  <a:pt x="184404" y="12192"/>
                </a:lnTo>
                <a:lnTo>
                  <a:pt x="57573" y="54864"/>
                </a:lnTo>
                <a:lnTo>
                  <a:pt x="21336" y="54864"/>
                </a:lnTo>
                <a:lnTo>
                  <a:pt x="21336" y="67056"/>
                </a:lnTo>
                <a:lnTo>
                  <a:pt x="57573" y="67056"/>
                </a:lnTo>
                <a:lnTo>
                  <a:pt x="184404" y="109728"/>
                </a:lnTo>
                <a:lnTo>
                  <a:pt x="534619" y="109728"/>
                </a:lnTo>
                <a:lnTo>
                  <a:pt x="498348" y="121920"/>
                </a:lnTo>
                <a:close/>
              </a:path>
              <a:path w="680085" h="121920">
                <a:moveTo>
                  <a:pt x="640249" y="60960"/>
                </a:moveTo>
                <a:lnTo>
                  <a:pt x="495300" y="12192"/>
                </a:lnTo>
                <a:lnTo>
                  <a:pt x="534619" y="12192"/>
                </a:lnTo>
                <a:lnTo>
                  <a:pt x="661568" y="54864"/>
                </a:lnTo>
                <a:lnTo>
                  <a:pt x="658368" y="54864"/>
                </a:lnTo>
                <a:lnTo>
                  <a:pt x="640249" y="60960"/>
                </a:lnTo>
                <a:close/>
              </a:path>
              <a:path w="680085" h="121920">
                <a:moveTo>
                  <a:pt x="21336" y="67056"/>
                </a:moveTo>
                <a:lnTo>
                  <a:pt x="21336" y="54864"/>
                </a:lnTo>
                <a:lnTo>
                  <a:pt x="39454" y="60960"/>
                </a:lnTo>
                <a:lnTo>
                  <a:pt x="21336" y="67056"/>
                </a:lnTo>
                <a:close/>
              </a:path>
              <a:path w="680085" h="121920">
                <a:moveTo>
                  <a:pt x="39454" y="60960"/>
                </a:moveTo>
                <a:lnTo>
                  <a:pt x="21336" y="54864"/>
                </a:lnTo>
                <a:lnTo>
                  <a:pt x="57573" y="54864"/>
                </a:lnTo>
                <a:lnTo>
                  <a:pt x="39454" y="60960"/>
                </a:lnTo>
                <a:close/>
              </a:path>
              <a:path w="680085" h="121920">
                <a:moveTo>
                  <a:pt x="658368" y="67056"/>
                </a:moveTo>
                <a:lnTo>
                  <a:pt x="640249" y="60960"/>
                </a:lnTo>
                <a:lnTo>
                  <a:pt x="658368" y="54864"/>
                </a:lnTo>
                <a:lnTo>
                  <a:pt x="658368" y="67056"/>
                </a:lnTo>
                <a:close/>
              </a:path>
              <a:path w="680085" h="121920">
                <a:moveTo>
                  <a:pt x="661568" y="67056"/>
                </a:moveTo>
                <a:lnTo>
                  <a:pt x="658368" y="67056"/>
                </a:lnTo>
                <a:lnTo>
                  <a:pt x="658368" y="54864"/>
                </a:lnTo>
                <a:lnTo>
                  <a:pt x="661568" y="54864"/>
                </a:lnTo>
                <a:lnTo>
                  <a:pt x="679704" y="60960"/>
                </a:lnTo>
                <a:lnTo>
                  <a:pt x="661568" y="67056"/>
                </a:lnTo>
                <a:close/>
              </a:path>
              <a:path w="680085" h="121920">
                <a:moveTo>
                  <a:pt x="57573" y="67056"/>
                </a:moveTo>
                <a:lnTo>
                  <a:pt x="21336" y="67056"/>
                </a:lnTo>
                <a:lnTo>
                  <a:pt x="39454" y="60960"/>
                </a:lnTo>
                <a:lnTo>
                  <a:pt x="57573" y="67056"/>
                </a:lnTo>
                <a:close/>
              </a:path>
              <a:path w="680085" h="121920">
                <a:moveTo>
                  <a:pt x="534619" y="109728"/>
                </a:moveTo>
                <a:lnTo>
                  <a:pt x="495300" y="109728"/>
                </a:lnTo>
                <a:lnTo>
                  <a:pt x="640249" y="60960"/>
                </a:lnTo>
                <a:lnTo>
                  <a:pt x="658368" y="67056"/>
                </a:lnTo>
                <a:lnTo>
                  <a:pt x="661568" y="67056"/>
                </a:lnTo>
                <a:lnTo>
                  <a:pt x="534619" y="1097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36" name="object 236"/>
          <p:cNvSpPr/>
          <p:nvPr/>
        </p:nvSpPr>
        <p:spPr>
          <a:xfrm>
            <a:off x="6364941" y="2989282"/>
            <a:ext cx="564776" cy="96931"/>
          </a:xfrm>
          <a:custGeom>
            <a:avLst/>
            <a:gdLst/>
            <a:ahLst/>
            <a:cxnLst/>
            <a:rect l="l" t="t" r="r" b="b"/>
            <a:pathLst>
              <a:path w="640079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0080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37" name="object 237"/>
          <p:cNvSpPr/>
          <p:nvPr/>
        </p:nvSpPr>
        <p:spPr>
          <a:xfrm>
            <a:off x="6347460" y="2983902"/>
            <a:ext cx="600075" cy="107576"/>
          </a:xfrm>
          <a:custGeom>
            <a:avLst/>
            <a:gdLst/>
            <a:ahLst/>
            <a:cxnLst/>
            <a:rect l="l" t="t" r="r" b="b"/>
            <a:pathLst>
              <a:path w="680085" h="121920">
                <a:moveTo>
                  <a:pt x="498348" y="121920"/>
                </a:moveTo>
                <a:lnTo>
                  <a:pt x="181356" y="121920"/>
                </a:lnTo>
                <a:lnTo>
                  <a:pt x="0" y="60960"/>
                </a:lnTo>
                <a:lnTo>
                  <a:pt x="181356" y="0"/>
                </a:lnTo>
                <a:lnTo>
                  <a:pt x="498348" y="0"/>
                </a:lnTo>
                <a:lnTo>
                  <a:pt x="534619" y="12192"/>
                </a:lnTo>
                <a:lnTo>
                  <a:pt x="184404" y="12192"/>
                </a:lnTo>
                <a:lnTo>
                  <a:pt x="57573" y="54864"/>
                </a:lnTo>
                <a:lnTo>
                  <a:pt x="21336" y="54864"/>
                </a:lnTo>
                <a:lnTo>
                  <a:pt x="21336" y="67056"/>
                </a:lnTo>
                <a:lnTo>
                  <a:pt x="57573" y="67056"/>
                </a:lnTo>
                <a:lnTo>
                  <a:pt x="184404" y="109728"/>
                </a:lnTo>
                <a:lnTo>
                  <a:pt x="534619" y="109728"/>
                </a:lnTo>
                <a:lnTo>
                  <a:pt x="498348" y="121920"/>
                </a:lnTo>
                <a:close/>
              </a:path>
              <a:path w="680085" h="121920">
                <a:moveTo>
                  <a:pt x="640249" y="60960"/>
                </a:moveTo>
                <a:lnTo>
                  <a:pt x="495300" y="12192"/>
                </a:lnTo>
                <a:lnTo>
                  <a:pt x="534619" y="12192"/>
                </a:lnTo>
                <a:lnTo>
                  <a:pt x="661568" y="54864"/>
                </a:lnTo>
                <a:lnTo>
                  <a:pt x="658368" y="54864"/>
                </a:lnTo>
                <a:lnTo>
                  <a:pt x="640249" y="60960"/>
                </a:lnTo>
                <a:close/>
              </a:path>
              <a:path w="680085" h="121920">
                <a:moveTo>
                  <a:pt x="21336" y="67056"/>
                </a:moveTo>
                <a:lnTo>
                  <a:pt x="21336" y="54864"/>
                </a:lnTo>
                <a:lnTo>
                  <a:pt x="39454" y="60960"/>
                </a:lnTo>
                <a:lnTo>
                  <a:pt x="21336" y="67056"/>
                </a:lnTo>
                <a:close/>
              </a:path>
              <a:path w="680085" h="121920">
                <a:moveTo>
                  <a:pt x="39454" y="60960"/>
                </a:moveTo>
                <a:lnTo>
                  <a:pt x="21336" y="54864"/>
                </a:lnTo>
                <a:lnTo>
                  <a:pt x="57573" y="54864"/>
                </a:lnTo>
                <a:lnTo>
                  <a:pt x="39454" y="60960"/>
                </a:lnTo>
                <a:close/>
              </a:path>
              <a:path w="680085" h="121920">
                <a:moveTo>
                  <a:pt x="658368" y="67056"/>
                </a:moveTo>
                <a:lnTo>
                  <a:pt x="640249" y="60960"/>
                </a:lnTo>
                <a:lnTo>
                  <a:pt x="658368" y="54864"/>
                </a:lnTo>
                <a:lnTo>
                  <a:pt x="658368" y="67056"/>
                </a:lnTo>
                <a:close/>
              </a:path>
              <a:path w="680085" h="121920">
                <a:moveTo>
                  <a:pt x="661568" y="67056"/>
                </a:moveTo>
                <a:lnTo>
                  <a:pt x="658368" y="67056"/>
                </a:lnTo>
                <a:lnTo>
                  <a:pt x="658368" y="54864"/>
                </a:lnTo>
                <a:lnTo>
                  <a:pt x="661568" y="54864"/>
                </a:lnTo>
                <a:lnTo>
                  <a:pt x="679704" y="60960"/>
                </a:lnTo>
                <a:lnTo>
                  <a:pt x="661568" y="67056"/>
                </a:lnTo>
                <a:close/>
              </a:path>
              <a:path w="680085" h="121920">
                <a:moveTo>
                  <a:pt x="57573" y="67056"/>
                </a:moveTo>
                <a:lnTo>
                  <a:pt x="21336" y="67056"/>
                </a:lnTo>
                <a:lnTo>
                  <a:pt x="39454" y="60960"/>
                </a:lnTo>
                <a:lnTo>
                  <a:pt x="57573" y="67056"/>
                </a:lnTo>
                <a:close/>
              </a:path>
              <a:path w="680085" h="121920">
                <a:moveTo>
                  <a:pt x="534619" y="109728"/>
                </a:moveTo>
                <a:lnTo>
                  <a:pt x="495300" y="109728"/>
                </a:lnTo>
                <a:lnTo>
                  <a:pt x="640249" y="60960"/>
                </a:lnTo>
                <a:lnTo>
                  <a:pt x="658368" y="67056"/>
                </a:lnTo>
                <a:lnTo>
                  <a:pt x="661568" y="67056"/>
                </a:lnTo>
                <a:lnTo>
                  <a:pt x="534619" y="1097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38" name="object 238"/>
          <p:cNvSpPr/>
          <p:nvPr/>
        </p:nvSpPr>
        <p:spPr>
          <a:xfrm>
            <a:off x="7200004" y="2670586"/>
            <a:ext cx="566457" cy="96931"/>
          </a:xfrm>
          <a:custGeom>
            <a:avLst/>
            <a:gdLst/>
            <a:ahLst/>
            <a:cxnLst/>
            <a:rect l="l" t="t" r="r" b="b"/>
            <a:pathLst>
              <a:path w="641984" h="109855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39" name="object 239"/>
          <p:cNvSpPr/>
          <p:nvPr/>
        </p:nvSpPr>
        <p:spPr>
          <a:xfrm>
            <a:off x="7182522" y="2665207"/>
            <a:ext cx="601196" cy="109257"/>
          </a:xfrm>
          <a:custGeom>
            <a:avLst/>
            <a:gdLst/>
            <a:ahLst/>
            <a:cxnLst/>
            <a:rect l="l" t="t" r="r" b="b"/>
            <a:pathLst>
              <a:path w="681354" h="123825">
                <a:moveTo>
                  <a:pt x="499872" y="123444"/>
                </a:moveTo>
                <a:lnTo>
                  <a:pt x="181356" y="123444"/>
                </a:lnTo>
                <a:lnTo>
                  <a:pt x="0" y="60960"/>
                </a:lnTo>
                <a:lnTo>
                  <a:pt x="181356" y="0"/>
                </a:lnTo>
                <a:lnTo>
                  <a:pt x="499872" y="0"/>
                </a:lnTo>
                <a:lnTo>
                  <a:pt x="536143" y="12192"/>
                </a:lnTo>
                <a:lnTo>
                  <a:pt x="184404" y="12192"/>
                </a:lnTo>
                <a:lnTo>
                  <a:pt x="57573" y="54864"/>
                </a:lnTo>
                <a:lnTo>
                  <a:pt x="21336" y="54864"/>
                </a:lnTo>
                <a:lnTo>
                  <a:pt x="21336" y="67056"/>
                </a:lnTo>
                <a:lnTo>
                  <a:pt x="57573" y="67056"/>
                </a:lnTo>
                <a:lnTo>
                  <a:pt x="184404" y="109728"/>
                </a:lnTo>
                <a:lnTo>
                  <a:pt x="539681" y="109728"/>
                </a:lnTo>
                <a:lnTo>
                  <a:pt x="499872" y="123444"/>
                </a:lnTo>
                <a:close/>
              </a:path>
              <a:path w="681354" h="123825">
                <a:moveTo>
                  <a:pt x="640418" y="60960"/>
                </a:moveTo>
                <a:lnTo>
                  <a:pt x="496824" y="12192"/>
                </a:lnTo>
                <a:lnTo>
                  <a:pt x="536143" y="12192"/>
                </a:lnTo>
                <a:lnTo>
                  <a:pt x="663092" y="54864"/>
                </a:lnTo>
                <a:lnTo>
                  <a:pt x="658368" y="54864"/>
                </a:lnTo>
                <a:lnTo>
                  <a:pt x="640418" y="60960"/>
                </a:lnTo>
                <a:close/>
              </a:path>
              <a:path w="681354" h="123825">
                <a:moveTo>
                  <a:pt x="21336" y="67056"/>
                </a:moveTo>
                <a:lnTo>
                  <a:pt x="21336" y="54864"/>
                </a:lnTo>
                <a:lnTo>
                  <a:pt x="39454" y="60960"/>
                </a:lnTo>
                <a:lnTo>
                  <a:pt x="21336" y="67056"/>
                </a:lnTo>
                <a:close/>
              </a:path>
              <a:path w="681354" h="123825">
                <a:moveTo>
                  <a:pt x="39454" y="60960"/>
                </a:moveTo>
                <a:lnTo>
                  <a:pt x="21336" y="54864"/>
                </a:lnTo>
                <a:lnTo>
                  <a:pt x="57573" y="54864"/>
                </a:lnTo>
                <a:lnTo>
                  <a:pt x="39454" y="60960"/>
                </a:lnTo>
                <a:close/>
              </a:path>
              <a:path w="681354" h="123825">
                <a:moveTo>
                  <a:pt x="658368" y="67056"/>
                </a:moveTo>
                <a:lnTo>
                  <a:pt x="640418" y="60960"/>
                </a:lnTo>
                <a:lnTo>
                  <a:pt x="658368" y="54864"/>
                </a:lnTo>
                <a:lnTo>
                  <a:pt x="658368" y="67056"/>
                </a:lnTo>
                <a:close/>
              </a:path>
              <a:path w="681354" h="123825">
                <a:moveTo>
                  <a:pt x="663534" y="67056"/>
                </a:moveTo>
                <a:lnTo>
                  <a:pt x="658368" y="67056"/>
                </a:lnTo>
                <a:lnTo>
                  <a:pt x="658368" y="54864"/>
                </a:lnTo>
                <a:lnTo>
                  <a:pt x="663092" y="54864"/>
                </a:lnTo>
                <a:lnTo>
                  <a:pt x="681228" y="60960"/>
                </a:lnTo>
                <a:lnTo>
                  <a:pt x="663534" y="67056"/>
                </a:lnTo>
                <a:close/>
              </a:path>
              <a:path w="681354" h="123825">
                <a:moveTo>
                  <a:pt x="57573" y="67056"/>
                </a:moveTo>
                <a:lnTo>
                  <a:pt x="21336" y="67056"/>
                </a:lnTo>
                <a:lnTo>
                  <a:pt x="39454" y="60960"/>
                </a:lnTo>
                <a:lnTo>
                  <a:pt x="57573" y="67056"/>
                </a:lnTo>
                <a:close/>
              </a:path>
              <a:path w="681354" h="123825">
                <a:moveTo>
                  <a:pt x="539681" y="109728"/>
                </a:moveTo>
                <a:lnTo>
                  <a:pt x="496824" y="109728"/>
                </a:lnTo>
                <a:lnTo>
                  <a:pt x="640418" y="60960"/>
                </a:lnTo>
                <a:lnTo>
                  <a:pt x="658368" y="67056"/>
                </a:lnTo>
                <a:lnTo>
                  <a:pt x="663534" y="67056"/>
                </a:lnTo>
                <a:lnTo>
                  <a:pt x="539681" y="1097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40" name="object 240"/>
          <p:cNvSpPr/>
          <p:nvPr/>
        </p:nvSpPr>
        <p:spPr>
          <a:xfrm>
            <a:off x="6781801" y="2724375"/>
            <a:ext cx="566457" cy="96931"/>
          </a:xfrm>
          <a:custGeom>
            <a:avLst/>
            <a:gdLst/>
            <a:ahLst/>
            <a:cxnLst/>
            <a:rect l="l" t="t" r="r" b="b"/>
            <a:pathLst>
              <a:path w="641985" h="109855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41" name="object 241"/>
          <p:cNvSpPr/>
          <p:nvPr/>
        </p:nvSpPr>
        <p:spPr>
          <a:xfrm>
            <a:off x="6764319" y="2717651"/>
            <a:ext cx="601196" cy="109257"/>
          </a:xfrm>
          <a:custGeom>
            <a:avLst/>
            <a:gdLst/>
            <a:ahLst/>
            <a:cxnLst/>
            <a:rect l="l" t="t" r="r" b="b"/>
            <a:pathLst>
              <a:path w="681354" h="123825">
                <a:moveTo>
                  <a:pt x="499872" y="123444"/>
                </a:moveTo>
                <a:lnTo>
                  <a:pt x="182880" y="123444"/>
                </a:lnTo>
                <a:lnTo>
                  <a:pt x="0" y="62484"/>
                </a:lnTo>
                <a:lnTo>
                  <a:pt x="182880" y="0"/>
                </a:lnTo>
                <a:lnTo>
                  <a:pt x="499872" y="0"/>
                </a:lnTo>
                <a:lnTo>
                  <a:pt x="535258" y="12192"/>
                </a:lnTo>
                <a:lnTo>
                  <a:pt x="185928" y="12192"/>
                </a:lnTo>
                <a:lnTo>
                  <a:pt x="58117" y="56388"/>
                </a:lnTo>
                <a:lnTo>
                  <a:pt x="22860" y="56388"/>
                </a:lnTo>
                <a:lnTo>
                  <a:pt x="22860" y="68580"/>
                </a:lnTo>
                <a:lnTo>
                  <a:pt x="59097" y="68580"/>
                </a:lnTo>
                <a:lnTo>
                  <a:pt x="185928" y="111252"/>
                </a:lnTo>
                <a:lnTo>
                  <a:pt x="536143" y="111252"/>
                </a:lnTo>
                <a:lnTo>
                  <a:pt x="499872" y="123444"/>
                </a:lnTo>
                <a:close/>
              </a:path>
              <a:path w="681354" h="123825">
                <a:moveTo>
                  <a:pt x="498348" y="13716"/>
                </a:moveTo>
                <a:lnTo>
                  <a:pt x="182880" y="13716"/>
                </a:lnTo>
                <a:lnTo>
                  <a:pt x="185928" y="12192"/>
                </a:lnTo>
                <a:lnTo>
                  <a:pt x="496824" y="12192"/>
                </a:lnTo>
                <a:lnTo>
                  <a:pt x="498348" y="13716"/>
                </a:lnTo>
                <a:close/>
              </a:path>
              <a:path w="681354" h="123825">
                <a:moveTo>
                  <a:pt x="642021" y="62400"/>
                </a:moveTo>
                <a:lnTo>
                  <a:pt x="496824" y="12192"/>
                </a:lnTo>
                <a:lnTo>
                  <a:pt x="535258" y="12192"/>
                </a:lnTo>
                <a:lnTo>
                  <a:pt x="663534" y="56388"/>
                </a:lnTo>
                <a:lnTo>
                  <a:pt x="659892" y="56388"/>
                </a:lnTo>
                <a:lnTo>
                  <a:pt x="642021" y="62400"/>
                </a:lnTo>
                <a:close/>
              </a:path>
              <a:path w="681354" h="123825">
                <a:moveTo>
                  <a:pt x="22860" y="68580"/>
                </a:moveTo>
                <a:lnTo>
                  <a:pt x="22860" y="56388"/>
                </a:lnTo>
                <a:lnTo>
                  <a:pt x="40730" y="62400"/>
                </a:lnTo>
                <a:lnTo>
                  <a:pt x="22860" y="68580"/>
                </a:lnTo>
                <a:close/>
              </a:path>
              <a:path w="681354" h="123825">
                <a:moveTo>
                  <a:pt x="40730" y="62400"/>
                </a:moveTo>
                <a:lnTo>
                  <a:pt x="22860" y="56388"/>
                </a:lnTo>
                <a:lnTo>
                  <a:pt x="58117" y="56388"/>
                </a:lnTo>
                <a:lnTo>
                  <a:pt x="40730" y="62400"/>
                </a:lnTo>
                <a:close/>
              </a:path>
              <a:path w="681354" h="123825">
                <a:moveTo>
                  <a:pt x="659892" y="68580"/>
                </a:moveTo>
                <a:lnTo>
                  <a:pt x="642021" y="62400"/>
                </a:lnTo>
                <a:lnTo>
                  <a:pt x="659892" y="56388"/>
                </a:lnTo>
                <a:lnTo>
                  <a:pt x="659892" y="68580"/>
                </a:lnTo>
                <a:close/>
              </a:path>
              <a:path w="681354" h="123825">
                <a:moveTo>
                  <a:pt x="663092" y="68580"/>
                </a:moveTo>
                <a:lnTo>
                  <a:pt x="659892" y="68580"/>
                </a:lnTo>
                <a:lnTo>
                  <a:pt x="659892" y="56388"/>
                </a:lnTo>
                <a:lnTo>
                  <a:pt x="663534" y="56388"/>
                </a:lnTo>
                <a:lnTo>
                  <a:pt x="681228" y="62484"/>
                </a:lnTo>
                <a:lnTo>
                  <a:pt x="663092" y="68580"/>
                </a:lnTo>
                <a:close/>
              </a:path>
              <a:path w="681354" h="123825">
                <a:moveTo>
                  <a:pt x="59097" y="68580"/>
                </a:moveTo>
                <a:lnTo>
                  <a:pt x="22860" y="68580"/>
                </a:lnTo>
                <a:lnTo>
                  <a:pt x="40730" y="62400"/>
                </a:lnTo>
                <a:lnTo>
                  <a:pt x="59097" y="68580"/>
                </a:lnTo>
                <a:close/>
              </a:path>
              <a:path w="681354" h="123825">
                <a:moveTo>
                  <a:pt x="536143" y="111252"/>
                </a:moveTo>
                <a:lnTo>
                  <a:pt x="496824" y="111252"/>
                </a:lnTo>
                <a:lnTo>
                  <a:pt x="642021" y="62400"/>
                </a:lnTo>
                <a:lnTo>
                  <a:pt x="659892" y="68580"/>
                </a:lnTo>
                <a:lnTo>
                  <a:pt x="663092" y="68580"/>
                </a:lnTo>
                <a:lnTo>
                  <a:pt x="536143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42" name="object 242"/>
          <p:cNvSpPr/>
          <p:nvPr/>
        </p:nvSpPr>
        <p:spPr>
          <a:xfrm>
            <a:off x="6781801" y="2935493"/>
            <a:ext cx="566457" cy="98612"/>
          </a:xfrm>
          <a:custGeom>
            <a:avLst/>
            <a:gdLst/>
            <a:ahLst/>
            <a:cxnLst/>
            <a:rect l="l" t="t" r="r" b="b"/>
            <a:pathLst>
              <a:path w="641985" h="111760">
                <a:moveTo>
                  <a:pt x="478536" y="111252"/>
                </a:moveTo>
                <a:lnTo>
                  <a:pt x="163068" y="111252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11252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43" name="object 243"/>
          <p:cNvSpPr/>
          <p:nvPr/>
        </p:nvSpPr>
        <p:spPr>
          <a:xfrm>
            <a:off x="6764319" y="2930115"/>
            <a:ext cx="601196" cy="109257"/>
          </a:xfrm>
          <a:custGeom>
            <a:avLst/>
            <a:gdLst/>
            <a:ahLst/>
            <a:cxnLst/>
            <a:rect l="l" t="t" r="r" b="b"/>
            <a:pathLst>
              <a:path w="681354" h="123825">
                <a:moveTo>
                  <a:pt x="499872" y="123444"/>
                </a:moveTo>
                <a:lnTo>
                  <a:pt x="182880" y="123444"/>
                </a:lnTo>
                <a:lnTo>
                  <a:pt x="0" y="60960"/>
                </a:lnTo>
                <a:lnTo>
                  <a:pt x="182880" y="0"/>
                </a:lnTo>
                <a:lnTo>
                  <a:pt x="499872" y="0"/>
                </a:lnTo>
                <a:lnTo>
                  <a:pt x="536143" y="12192"/>
                </a:lnTo>
                <a:lnTo>
                  <a:pt x="185928" y="12192"/>
                </a:lnTo>
                <a:lnTo>
                  <a:pt x="59097" y="54864"/>
                </a:lnTo>
                <a:lnTo>
                  <a:pt x="22860" y="54864"/>
                </a:lnTo>
                <a:lnTo>
                  <a:pt x="22860" y="67056"/>
                </a:lnTo>
                <a:lnTo>
                  <a:pt x="58117" y="67056"/>
                </a:lnTo>
                <a:lnTo>
                  <a:pt x="185928" y="111252"/>
                </a:lnTo>
                <a:lnTo>
                  <a:pt x="535258" y="111252"/>
                </a:lnTo>
                <a:lnTo>
                  <a:pt x="499872" y="123444"/>
                </a:lnTo>
                <a:close/>
              </a:path>
              <a:path w="681354" h="123825">
                <a:moveTo>
                  <a:pt x="642021" y="61043"/>
                </a:moveTo>
                <a:lnTo>
                  <a:pt x="496824" y="12192"/>
                </a:lnTo>
                <a:lnTo>
                  <a:pt x="536143" y="12192"/>
                </a:lnTo>
                <a:lnTo>
                  <a:pt x="663092" y="54864"/>
                </a:lnTo>
                <a:lnTo>
                  <a:pt x="659892" y="54864"/>
                </a:lnTo>
                <a:lnTo>
                  <a:pt x="642021" y="61043"/>
                </a:lnTo>
                <a:close/>
              </a:path>
              <a:path w="681354" h="123825">
                <a:moveTo>
                  <a:pt x="22860" y="67056"/>
                </a:moveTo>
                <a:lnTo>
                  <a:pt x="22860" y="54864"/>
                </a:lnTo>
                <a:lnTo>
                  <a:pt x="40730" y="61043"/>
                </a:lnTo>
                <a:lnTo>
                  <a:pt x="22860" y="67056"/>
                </a:lnTo>
                <a:close/>
              </a:path>
              <a:path w="681354" h="123825">
                <a:moveTo>
                  <a:pt x="40730" y="61043"/>
                </a:moveTo>
                <a:lnTo>
                  <a:pt x="22860" y="54864"/>
                </a:lnTo>
                <a:lnTo>
                  <a:pt x="59097" y="54864"/>
                </a:lnTo>
                <a:lnTo>
                  <a:pt x="40730" y="61043"/>
                </a:lnTo>
                <a:close/>
              </a:path>
              <a:path w="681354" h="123825">
                <a:moveTo>
                  <a:pt x="659892" y="67056"/>
                </a:moveTo>
                <a:lnTo>
                  <a:pt x="642021" y="61043"/>
                </a:lnTo>
                <a:lnTo>
                  <a:pt x="659892" y="54864"/>
                </a:lnTo>
                <a:lnTo>
                  <a:pt x="659892" y="67056"/>
                </a:lnTo>
                <a:close/>
              </a:path>
              <a:path w="681354" h="123825">
                <a:moveTo>
                  <a:pt x="663534" y="67056"/>
                </a:moveTo>
                <a:lnTo>
                  <a:pt x="659892" y="67056"/>
                </a:lnTo>
                <a:lnTo>
                  <a:pt x="659892" y="54864"/>
                </a:lnTo>
                <a:lnTo>
                  <a:pt x="663092" y="54864"/>
                </a:lnTo>
                <a:lnTo>
                  <a:pt x="681228" y="60960"/>
                </a:lnTo>
                <a:lnTo>
                  <a:pt x="663534" y="67056"/>
                </a:lnTo>
                <a:close/>
              </a:path>
              <a:path w="681354" h="123825">
                <a:moveTo>
                  <a:pt x="58117" y="67056"/>
                </a:moveTo>
                <a:lnTo>
                  <a:pt x="22860" y="67056"/>
                </a:lnTo>
                <a:lnTo>
                  <a:pt x="40730" y="61043"/>
                </a:lnTo>
                <a:lnTo>
                  <a:pt x="58117" y="67056"/>
                </a:lnTo>
                <a:close/>
              </a:path>
              <a:path w="681354" h="123825">
                <a:moveTo>
                  <a:pt x="535258" y="111252"/>
                </a:moveTo>
                <a:lnTo>
                  <a:pt x="496824" y="111252"/>
                </a:lnTo>
                <a:lnTo>
                  <a:pt x="642021" y="61043"/>
                </a:lnTo>
                <a:lnTo>
                  <a:pt x="659892" y="67056"/>
                </a:lnTo>
                <a:lnTo>
                  <a:pt x="663534" y="67056"/>
                </a:lnTo>
                <a:lnTo>
                  <a:pt x="535258" y="111252"/>
                </a:lnTo>
                <a:close/>
              </a:path>
              <a:path w="681354" h="123825">
                <a:moveTo>
                  <a:pt x="496824" y="111252"/>
                </a:moveTo>
                <a:lnTo>
                  <a:pt x="185928" y="111252"/>
                </a:lnTo>
                <a:lnTo>
                  <a:pt x="182880" y="109728"/>
                </a:lnTo>
                <a:lnTo>
                  <a:pt x="498348" y="109728"/>
                </a:lnTo>
                <a:lnTo>
                  <a:pt x="496824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44" name="object 244"/>
          <p:cNvSpPr/>
          <p:nvPr/>
        </p:nvSpPr>
        <p:spPr>
          <a:xfrm>
            <a:off x="6781801" y="3041725"/>
            <a:ext cx="566457" cy="96931"/>
          </a:xfrm>
          <a:custGeom>
            <a:avLst/>
            <a:gdLst/>
            <a:ahLst/>
            <a:cxnLst/>
            <a:rect l="l" t="t" r="r" b="b"/>
            <a:pathLst>
              <a:path w="641985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45" name="object 245"/>
          <p:cNvSpPr/>
          <p:nvPr/>
        </p:nvSpPr>
        <p:spPr>
          <a:xfrm>
            <a:off x="6764319" y="3036346"/>
            <a:ext cx="601196" cy="109257"/>
          </a:xfrm>
          <a:custGeom>
            <a:avLst/>
            <a:gdLst/>
            <a:ahLst/>
            <a:cxnLst/>
            <a:rect l="l" t="t" r="r" b="b"/>
            <a:pathLst>
              <a:path w="681354" h="123825">
                <a:moveTo>
                  <a:pt x="499872" y="123444"/>
                </a:moveTo>
                <a:lnTo>
                  <a:pt x="182880" y="123444"/>
                </a:lnTo>
                <a:lnTo>
                  <a:pt x="0" y="60960"/>
                </a:lnTo>
                <a:lnTo>
                  <a:pt x="182880" y="0"/>
                </a:lnTo>
                <a:lnTo>
                  <a:pt x="499872" y="0"/>
                </a:lnTo>
                <a:lnTo>
                  <a:pt x="536143" y="12192"/>
                </a:lnTo>
                <a:lnTo>
                  <a:pt x="185928" y="12192"/>
                </a:lnTo>
                <a:lnTo>
                  <a:pt x="59097" y="54864"/>
                </a:lnTo>
                <a:lnTo>
                  <a:pt x="22860" y="54864"/>
                </a:lnTo>
                <a:lnTo>
                  <a:pt x="22860" y="67056"/>
                </a:lnTo>
                <a:lnTo>
                  <a:pt x="58117" y="67056"/>
                </a:lnTo>
                <a:lnTo>
                  <a:pt x="185928" y="111252"/>
                </a:lnTo>
                <a:lnTo>
                  <a:pt x="535258" y="111252"/>
                </a:lnTo>
                <a:lnTo>
                  <a:pt x="499872" y="123444"/>
                </a:lnTo>
                <a:close/>
              </a:path>
              <a:path w="681354" h="123825">
                <a:moveTo>
                  <a:pt x="642021" y="61043"/>
                </a:moveTo>
                <a:lnTo>
                  <a:pt x="496824" y="12192"/>
                </a:lnTo>
                <a:lnTo>
                  <a:pt x="536143" y="12192"/>
                </a:lnTo>
                <a:lnTo>
                  <a:pt x="663092" y="54864"/>
                </a:lnTo>
                <a:lnTo>
                  <a:pt x="659892" y="54864"/>
                </a:lnTo>
                <a:lnTo>
                  <a:pt x="642021" y="61043"/>
                </a:lnTo>
                <a:close/>
              </a:path>
              <a:path w="681354" h="123825">
                <a:moveTo>
                  <a:pt x="22860" y="67056"/>
                </a:moveTo>
                <a:lnTo>
                  <a:pt x="22860" y="54864"/>
                </a:lnTo>
                <a:lnTo>
                  <a:pt x="40730" y="61043"/>
                </a:lnTo>
                <a:lnTo>
                  <a:pt x="22860" y="67056"/>
                </a:lnTo>
                <a:close/>
              </a:path>
              <a:path w="681354" h="123825">
                <a:moveTo>
                  <a:pt x="40730" y="61043"/>
                </a:moveTo>
                <a:lnTo>
                  <a:pt x="22860" y="54864"/>
                </a:lnTo>
                <a:lnTo>
                  <a:pt x="59097" y="54864"/>
                </a:lnTo>
                <a:lnTo>
                  <a:pt x="40730" y="61043"/>
                </a:lnTo>
                <a:close/>
              </a:path>
              <a:path w="681354" h="123825">
                <a:moveTo>
                  <a:pt x="659892" y="67056"/>
                </a:moveTo>
                <a:lnTo>
                  <a:pt x="642021" y="61043"/>
                </a:lnTo>
                <a:lnTo>
                  <a:pt x="659892" y="54864"/>
                </a:lnTo>
                <a:lnTo>
                  <a:pt x="659892" y="67056"/>
                </a:lnTo>
                <a:close/>
              </a:path>
              <a:path w="681354" h="123825">
                <a:moveTo>
                  <a:pt x="663534" y="67056"/>
                </a:moveTo>
                <a:lnTo>
                  <a:pt x="659892" y="67056"/>
                </a:lnTo>
                <a:lnTo>
                  <a:pt x="659892" y="54864"/>
                </a:lnTo>
                <a:lnTo>
                  <a:pt x="663092" y="54864"/>
                </a:lnTo>
                <a:lnTo>
                  <a:pt x="681228" y="60960"/>
                </a:lnTo>
                <a:lnTo>
                  <a:pt x="663534" y="67056"/>
                </a:lnTo>
                <a:close/>
              </a:path>
              <a:path w="681354" h="123825">
                <a:moveTo>
                  <a:pt x="58117" y="67056"/>
                </a:moveTo>
                <a:lnTo>
                  <a:pt x="22860" y="67056"/>
                </a:lnTo>
                <a:lnTo>
                  <a:pt x="40730" y="61043"/>
                </a:lnTo>
                <a:lnTo>
                  <a:pt x="58117" y="67056"/>
                </a:lnTo>
                <a:close/>
              </a:path>
              <a:path w="681354" h="123825">
                <a:moveTo>
                  <a:pt x="535258" y="111252"/>
                </a:moveTo>
                <a:lnTo>
                  <a:pt x="496824" y="111252"/>
                </a:lnTo>
                <a:lnTo>
                  <a:pt x="642021" y="61043"/>
                </a:lnTo>
                <a:lnTo>
                  <a:pt x="659892" y="67056"/>
                </a:lnTo>
                <a:lnTo>
                  <a:pt x="663534" y="67056"/>
                </a:lnTo>
                <a:lnTo>
                  <a:pt x="535258" y="111252"/>
                </a:lnTo>
                <a:close/>
              </a:path>
              <a:path w="681354" h="123825">
                <a:moveTo>
                  <a:pt x="496824" y="111252"/>
                </a:moveTo>
                <a:lnTo>
                  <a:pt x="185928" y="111252"/>
                </a:lnTo>
                <a:lnTo>
                  <a:pt x="182880" y="109728"/>
                </a:lnTo>
                <a:lnTo>
                  <a:pt x="498348" y="109728"/>
                </a:lnTo>
                <a:lnTo>
                  <a:pt x="496824" y="111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46" name="object 246"/>
          <p:cNvSpPr/>
          <p:nvPr/>
        </p:nvSpPr>
        <p:spPr>
          <a:xfrm>
            <a:off x="7200004" y="2776818"/>
            <a:ext cx="566457" cy="96931"/>
          </a:xfrm>
          <a:custGeom>
            <a:avLst/>
            <a:gdLst/>
            <a:ahLst/>
            <a:cxnLst/>
            <a:rect l="l" t="t" r="r" b="b"/>
            <a:pathLst>
              <a:path w="641984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47" name="object 247"/>
          <p:cNvSpPr/>
          <p:nvPr/>
        </p:nvSpPr>
        <p:spPr>
          <a:xfrm>
            <a:off x="7182522" y="2771439"/>
            <a:ext cx="601196" cy="107576"/>
          </a:xfrm>
          <a:custGeom>
            <a:avLst/>
            <a:gdLst/>
            <a:ahLst/>
            <a:cxnLst/>
            <a:rect l="l" t="t" r="r" b="b"/>
            <a:pathLst>
              <a:path w="681354" h="121920">
                <a:moveTo>
                  <a:pt x="499872" y="121920"/>
                </a:moveTo>
                <a:lnTo>
                  <a:pt x="181356" y="121920"/>
                </a:lnTo>
                <a:lnTo>
                  <a:pt x="0" y="60960"/>
                </a:lnTo>
                <a:lnTo>
                  <a:pt x="181356" y="0"/>
                </a:lnTo>
                <a:lnTo>
                  <a:pt x="499872" y="0"/>
                </a:lnTo>
                <a:lnTo>
                  <a:pt x="536143" y="12192"/>
                </a:lnTo>
                <a:lnTo>
                  <a:pt x="184404" y="12192"/>
                </a:lnTo>
                <a:lnTo>
                  <a:pt x="57573" y="54864"/>
                </a:lnTo>
                <a:lnTo>
                  <a:pt x="21336" y="54864"/>
                </a:lnTo>
                <a:lnTo>
                  <a:pt x="21336" y="67056"/>
                </a:lnTo>
                <a:lnTo>
                  <a:pt x="57573" y="67056"/>
                </a:lnTo>
                <a:lnTo>
                  <a:pt x="184404" y="109728"/>
                </a:lnTo>
                <a:lnTo>
                  <a:pt x="536143" y="109728"/>
                </a:lnTo>
                <a:lnTo>
                  <a:pt x="499872" y="121920"/>
                </a:lnTo>
                <a:close/>
              </a:path>
              <a:path w="681354" h="121920">
                <a:moveTo>
                  <a:pt x="640418" y="60960"/>
                </a:moveTo>
                <a:lnTo>
                  <a:pt x="496824" y="12192"/>
                </a:lnTo>
                <a:lnTo>
                  <a:pt x="536143" y="12192"/>
                </a:lnTo>
                <a:lnTo>
                  <a:pt x="663092" y="54864"/>
                </a:lnTo>
                <a:lnTo>
                  <a:pt x="658368" y="54864"/>
                </a:lnTo>
                <a:lnTo>
                  <a:pt x="640418" y="60960"/>
                </a:lnTo>
                <a:close/>
              </a:path>
              <a:path w="681354" h="121920">
                <a:moveTo>
                  <a:pt x="21336" y="67056"/>
                </a:moveTo>
                <a:lnTo>
                  <a:pt x="21336" y="54864"/>
                </a:lnTo>
                <a:lnTo>
                  <a:pt x="39454" y="60960"/>
                </a:lnTo>
                <a:lnTo>
                  <a:pt x="21336" y="67056"/>
                </a:lnTo>
                <a:close/>
              </a:path>
              <a:path w="681354" h="121920">
                <a:moveTo>
                  <a:pt x="39454" y="60960"/>
                </a:moveTo>
                <a:lnTo>
                  <a:pt x="21336" y="54864"/>
                </a:lnTo>
                <a:lnTo>
                  <a:pt x="57573" y="54864"/>
                </a:lnTo>
                <a:lnTo>
                  <a:pt x="39454" y="60960"/>
                </a:lnTo>
                <a:close/>
              </a:path>
              <a:path w="681354" h="121920">
                <a:moveTo>
                  <a:pt x="658368" y="67056"/>
                </a:moveTo>
                <a:lnTo>
                  <a:pt x="640418" y="60960"/>
                </a:lnTo>
                <a:lnTo>
                  <a:pt x="658368" y="54864"/>
                </a:lnTo>
                <a:lnTo>
                  <a:pt x="658368" y="67056"/>
                </a:lnTo>
                <a:close/>
              </a:path>
              <a:path w="681354" h="121920">
                <a:moveTo>
                  <a:pt x="663092" y="67056"/>
                </a:moveTo>
                <a:lnTo>
                  <a:pt x="658368" y="67056"/>
                </a:lnTo>
                <a:lnTo>
                  <a:pt x="658368" y="54864"/>
                </a:lnTo>
                <a:lnTo>
                  <a:pt x="663092" y="54864"/>
                </a:lnTo>
                <a:lnTo>
                  <a:pt x="681228" y="60960"/>
                </a:lnTo>
                <a:lnTo>
                  <a:pt x="663092" y="67056"/>
                </a:lnTo>
                <a:close/>
              </a:path>
              <a:path w="681354" h="121920">
                <a:moveTo>
                  <a:pt x="57573" y="67056"/>
                </a:moveTo>
                <a:lnTo>
                  <a:pt x="21336" y="67056"/>
                </a:lnTo>
                <a:lnTo>
                  <a:pt x="39454" y="60960"/>
                </a:lnTo>
                <a:lnTo>
                  <a:pt x="57573" y="67056"/>
                </a:lnTo>
                <a:close/>
              </a:path>
              <a:path w="681354" h="121920">
                <a:moveTo>
                  <a:pt x="536143" y="109728"/>
                </a:moveTo>
                <a:lnTo>
                  <a:pt x="496824" y="109728"/>
                </a:lnTo>
                <a:lnTo>
                  <a:pt x="640418" y="60960"/>
                </a:lnTo>
                <a:lnTo>
                  <a:pt x="658368" y="67056"/>
                </a:lnTo>
                <a:lnTo>
                  <a:pt x="663092" y="67056"/>
                </a:lnTo>
                <a:lnTo>
                  <a:pt x="536143" y="1097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48" name="object 248"/>
          <p:cNvSpPr/>
          <p:nvPr/>
        </p:nvSpPr>
        <p:spPr>
          <a:xfrm>
            <a:off x="7200004" y="2883049"/>
            <a:ext cx="566457" cy="96931"/>
          </a:xfrm>
          <a:custGeom>
            <a:avLst/>
            <a:gdLst/>
            <a:ahLst/>
            <a:cxnLst/>
            <a:rect l="l" t="t" r="r" b="b"/>
            <a:pathLst>
              <a:path w="641984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49" name="object 249"/>
          <p:cNvSpPr/>
          <p:nvPr/>
        </p:nvSpPr>
        <p:spPr>
          <a:xfrm>
            <a:off x="7182522" y="2877670"/>
            <a:ext cx="601196" cy="107576"/>
          </a:xfrm>
          <a:custGeom>
            <a:avLst/>
            <a:gdLst/>
            <a:ahLst/>
            <a:cxnLst/>
            <a:rect l="l" t="t" r="r" b="b"/>
            <a:pathLst>
              <a:path w="681354" h="121920">
                <a:moveTo>
                  <a:pt x="499872" y="121920"/>
                </a:moveTo>
                <a:lnTo>
                  <a:pt x="181356" y="121920"/>
                </a:lnTo>
                <a:lnTo>
                  <a:pt x="0" y="60960"/>
                </a:lnTo>
                <a:lnTo>
                  <a:pt x="181356" y="0"/>
                </a:lnTo>
                <a:lnTo>
                  <a:pt x="499872" y="0"/>
                </a:lnTo>
                <a:lnTo>
                  <a:pt x="536143" y="12192"/>
                </a:lnTo>
                <a:lnTo>
                  <a:pt x="184404" y="12192"/>
                </a:lnTo>
                <a:lnTo>
                  <a:pt x="57573" y="54864"/>
                </a:lnTo>
                <a:lnTo>
                  <a:pt x="21336" y="54864"/>
                </a:lnTo>
                <a:lnTo>
                  <a:pt x="21336" y="67056"/>
                </a:lnTo>
                <a:lnTo>
                  <a:pt x="57573" y="67056"/>
                </a:lnTo>
                <a:lnTo>
                  <a:pt x="184404" y="109728"/>
                </a:lnTo>
                <a:lnTo>
                  <a:pt x="536143" y="109728"/>
                </a:lnTo>
                <a:lnTo>
                  <a:pt x="499872" y="121920"/>
                </a:lnTo>
                <a:close/>
              </a:path>
              <a:path w="681354" h="121920">
                <a:moveTo>
                  <a:pt x="640418" y="60960"/>
                </a:moveTo>
                <a:lnTo>
                  <a:pt x="496824" y="12192"/>
                </a:lnTo>
                <a:lnTo>
                  <a:pt x="536143" y="12192"/>
                </a:lnTo>
                <a:lnTo>
                  <a:pt x="663092" y="54864"/>
                </a:lnTo>
                <a:lnTo>
                  <a:pt x="658368" y="54864"/>
                </a:lnTo>
                <a:lnTo>
                  <a:pt x="640418" y="60960"/>
                </a:lnTo>
                <a:close/>
              </a:path>
              <a:path w="681354" h="121920">
                <a:moveTo>
                  <a:pt x="21336" y="67056"/>
                </a:moveTo>
                <a:lnTo>
                  <a:pt x="21336" y="54864"/>
                </a:lnTo>
                <a:lnTo>
                  <a:pt x="39454" y="60960"/>
                </a:lnTo>
                <a:lnTo>
                  <a:pt x="21336" y="67056"/>
                </a:lnTo>
                <a:close/>
              </a:path>
              <a:path w="681354" h="121920">
                <a:moveTo>
                  <a:pt x="39454" y="60960"/>
                </a:moveTo>
                <a:lnTo>
                  <a:pt x="21336" y="54864"/>
                </a:lnTo>
                <a:lnTo>
                  <a:pt x="57573" y="54864"/>
                </a:lnTo>
                <a:lnTo>
                  <a:pt x="39454" y="60960"/>
                </a:lnTo>
                <a:close/>
              </a:path>
              <a:path w="681354" h="121920">
                <a:moveTo>
                  <a:pt x="658368" y="67056"/>
                </a:moveTo>
                <a:lnTo>
                  <a:pt x="640418" y="60960"/>
                </a:lnTo>
                <a:lnTo>
                  <a:pt x="658368" y="54864"/>
                </a:lnTo>
                <a:lnTo>
                  <a:pt x="658368" y="67056"/>
                </a:lnTo>
                <a:close/>
              </a:path>
              <a:path w="681354" h="121920">
                <a:moveTo>
                  <a:pt x="663092" y="67056"/>
                </a:moveTo>
                <a:lnTo>
                  <a:pt x="658368" y="67056"/>
                </a:lnTo>
                <a:lnTo>
                  <a:pt x="658368" y="54864"/>
                </a:lnTo>
                <a:lnTo>
                  <a:pt x="663092" y="54864"/>
                </a:lnTo>
                <a:lnTo>
                  <a:pt x="681228" y="60960"/>
                </a:lnTo>
                <a:lnTo>
                  <a:pt x="663092" y="67056"/>
                </a:lnTo>
                <a:close/>
              </a:path>
              <a:path w="681354" h="121920">
                <a:moveTo>
                  <a:pt x="57573" y="67056"/>
                </a:moveTo>
                <a:lnTo>
                  <a:pt x="21336" y="67056"/>
                </a:lnTo>
                <a:lnTo>
                  <a:pt x="39454" y="60960"/>
                </a:lnTo>
                <a:lnTo>
                  <a:pt x="57573" y="67056"/>
                </a:lnTo>
                <a:close/>
              </a:path>
              <a:path w="681354" h="121920">
                <a:moveTo>
                  <a:pt x="536143" y="109728"/>
                </a:moveTo>
                <a:lnTo>
                  <a:pt x="496824" y="109728"/>
                </a:lnTo>
                <a:lnTo>
                  <a:pt x="640418" y="60960"/>
                </a:lnTo>
                <a:lnTo>
                  <a:pt x="658368" y="67056"/>
                </a:lnTo>
                <a:lnTo>
                  <a:pt x="663092" y="67056"/>
                </a:lnTo>
                <a:lnTo>
                  <a:pt x="536143" y="1097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50" name="object 250"/>
          <p:cNvSpPr/>
          <p:nvPr/>
        </p:nvSpPr>
        <p:spPr>
          <a:xfrm>
            <a:off x="7200004" y="2989282"/>
            <a:ext cx="566457" cy="96931"/>
          </a:xfrm>
          <a:custGeom>
            <a:avLst/>
            <a:gdLst/>
            <a:ahLst/>
            <a:cxnLst/>
            <a:rect l="l" t="t" r="r" b="b"/>
            <a:pathLst>
              <a:path w="641984" h="109854">
                <a:moveTo>
                  <a:pt x="478536" y="109728"/>
                </a:moveTo>
                <a:lnTo>
                  <a:pt x="163068" y="109728"/>
                </a:lnTo>
                <a:lnTo>
                  <a:pt x="0" y="54864"/>
                </a:lnTo>
                <a:lnTo>
                  <a:pt x="163068" y="0"/>
                </a:lnTo>
                <a:lnTo>
                  <a:pt x="478536" y="0"/>
                </a:lnTo>
                <a:lnTo>
                  <a:pt x="641604" y="54864"/>
                </a:lnTo>
                <a:lnTo>
                  <a:pt x="478536" y="109728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51" name="object 251"/>
          <p:cNvSpPr/>
          <p:nvPr/>
        </p:nvSpPr>
        <p:spPr>
          <a:xfrm>
            <a:off x="7182522" y="2983902"/>
            <a:ext cx="601196" cy="107576"/>
          </a:xfrm>
          <a:custGeom>
            <a:avLst/>
            <a:gdLst/>
            <a:ahLst/>
            <a:cxnLst/>
            <a:rect l="l" t="t" r="r" b="b"/>
            <a:pathLst>
              <a:path w="681354" h="121920">
                <a:moveTo>
                  <a:pt x="499872" y="121920"/>
                </a:moveTo>
                <a:lnTo>
                  <a:pt x="181356" y="121920"/>
                </a:lnTo>
                <a:lnTo>
                  <a:pt x="0" y="60960"/>
                </a:lnTo>
                <a:lnTo>
                  <a:pt x="181356" y="0"/>
                </a:lnTo>
                <a:lnTo>
                  <a:pt x="499872" y="0"/>
                </a:lnTo>
                <a:lnTo>
                  <a:pt x="536143" y="12192"/>
                </a:lnTo>
                <a:lnTo>
                  <a:pt x="184404" y="12192"/>
                </a:lnTo>
                <a:lnTo>
                  <a:pt x="57573" y="54864"/>
                </a:lnTo>
                <a:lnTo>
                  <a:pt x="21336" y="54864"/>
                </a:lnTo>
                <a:lnTo>
                  <a:pt x="21336" y="67056"/>
                </a:lnTo>
                <a:lnTo>
                  <a:pt x="57573" y="67056"/>
                </a:lnTo>
                <a:lnTo>
                  <a:pt x="184404" y="109728"/>
                </a:lnTo>
                <a:lnTo>
                  <a:pt x="536143" y="109728"/>
                </a:lnTo>
                <a:lnTo>
                  <a:pt x="499872" y="121920"/>
                </a:lnTo>
                <a:close/>
              </a:path>
              <a:path w="681354" h="121920">
                <a:moveTo>
                  <a:pt x="640418" y="60960"/>
                </a:moveTo>
                <a:lnTo>
                  <a:pt x="496824" y="12192"/>
                </a:lnTo>
                <a:lnTo>
                  <a:pt x="536143" y="12192"/>
                </a:lnTo>
                <a:lnTo>
                  <a:pt x="663092" y="54864"/>
                </a:lnTo>
                <a:lnTo>
                  <a:pt x="658368" y="54864"/>
                </a:lnTo>
                <a:lnTo>
                  <a:pt x="640418" y="60960"/>
                </a:lnTo>
                <a:close/>
              </a:path>
              <a:path w="681354" h="121920">
                <a:moveTo>
                  <a:pt x="21336" y="67056"/>
                </a:moveTo>
                <a:lnTo>
                  <a:pt x="21336" y="54864"/>
                </a:lnTo>
                <a:lnTo>
                  <a:pt x="39454" y="60960"/>
                </a:lnTo>
                <a:lnTo>
                  <a:pt x="21336" y="67056"/>
                </a:lnTo>
                <a:close/>
              </a:path>
              <a:path w="681354" h="121920">
                <a:moveTo>
                  <a:pt x="39454" y="60960"/>
                </a:moveTo>
                <a:lnTo>
                  <a:pt x="21336" y="54864"/>
                </a:lnTo>
                <a:lnTo>
                  <a:pt x="57573" y="54864"/>
                </a:lnTo>
                <a:lnTo>
                  <a:pt x="39454" y="60960"/>
                </a:lnTo>
                <a:close/>
              </a:path>
              <a:path w="681354" h="121920">
                <a:moveTo>
                  <a:pt x="658368" y="67056"/>
                </a:moveTo>
                <a:lnTo>
                  <a:pt x="640418" y="60960"/>
                </a:lnTo>
                <a:lnTo>
                  <a:pt x="658368" y="54864"/>
                </a:lnTo>
                <a:lnTo>
                  <a:pt x="658368" y="67056"/>
                </a:lnTo>
                <a:close/>
              </a:path>
              <a:path w="681354" h="121920">
                <a:moveTo>
                  <a:pt x="663092" y="67056"/>
                </a:moveTo>
                <a:lnTo>
                  <a:pt x="658368" y="67056"/>
                </a:lnTo>
                <a:lnTo>
                  <a:pt x="658368" y="54864"/>
                </a:lnTo>
                <a:lnTo>
                  <a:pt x="663092" y="54864"/>
                </a:lnTo>
                <a:lnTo>
                  <a:pt x="681228" y="60960"/>
                </a:lnTo>
                <a:lnTo>
                  <a:pt x="663092" y="67056"/>
                </a:lnTo>
                <a:close/>
              </a:path>
              <a:path w="681354" h="121920">
                <a:moveTo>
                  <a:pt x="57573" y="67056"/>
                </a:moveTo>
                <a:lnTo>
                  <a:pt x="21336" y="67056"/>
                </a:lnTo>
                <a:lnTo>
                  <a:pt x="39454" y="60960"/>
                </a:lnTo>
                <a:lnTo>
                  <a:pt x="57573" y="67056"/>
                </a:lnTo>
                <a:close/>
              </a:path>
              <a:path w="681354" h="121920">
                <a:moveTo>
                  <a:pt x="536143" y="109728"/>
                </a:moveTo>
                <a:lnTo>
                  <a:pt x="496824" y="109728"/>
                </a:lnTo>
                <a:lnTo>
                  <a:pt x="640418" y="60960"/>
                </a:lnTo>
                <a:lnTo>
                  <a:pt x="658368" y="67056"/>
                </a:lnTo>
                <a:lnTo>
                  <a:pt x="663092" y="67056"/>
                </a:lnTo>
                <a:lnTo>
                  <a:pt x="536143" y="1097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52" name="object 252"/>
          <p:cNvSpPr/>
          <p:nvPr/>
        </p:nvSpPr>
        <p:spPr>
          <a:xfrm>
            <a:off x="6307118" y="2603351"/>
            <a:ext cx="67235" cy="67235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76200"/>
                </a:moveTo>
                <a:lnTo>
                  <a:pt x="0" y="76200"/>
                </a:lnTo>
                <a:lnTo>
                  <a:pt x="0" y="0"/>
                </a:lnTo>
                <a:lnTo>
                  <a:pt x="76200" y="0"/>
                </a:lnTo>
                <a:lnTo>
                  <a:pt x="76200" y="7620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53" name="object 253"/>
          <p:cNvSpPr/>
          <p:nvPr/>
        </p:nvSpPr>
        <p:spPr>
          <a:xfrm>
            <a:off x="6307118" y="2737821"/>
            <a:ext cx="67235" cy="67235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76200"/>
                </a:moveTo>
                <a:lnTo>
                  <a:pt x="0" y="76200"/>
                </a:lnTo>
                <a:lnTo>
                  <a:pt x="0" y="0"/>
                </a:lnTo>
                <a:lnTo>
                  <a:pt x="76200" y="0"/>
                </a:lnTo>
                <a:lnTo>
                  <a:pt x="76200" y="7620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54" name="object 254"/>
          <p:cNvSpPr/>
          <p:nvPr/>
        </p:nvSpPr>
        <p:spPr>
          <a:xfrm>
            <a:off x="6307118" y="2872292"/>
            <a:ext cx="67235" cy="67235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76200"/>
                </a:moveTo>
                <a:lnTo>
                  <a:pt x="0" y="76200"/>
                </a:lnTo>
                <a:lnTo>
                  <a:pt x="0" y="0"/>
                </a:lnTo>
                <a:lnTo>
                  <a:pt x="76200" y="0"/>
                </a:lnTo>
                <a:lnTo>
                  <a:pt x="76200" y="7620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55" name="object 255"/>
          <p:cNvSpPr/>
          <p:nvPr/>
        </p:nvSpPr>
        <p:spPr>
          <a:xfrm>
            <a:off x="6307118" y="3006763"/>
            <a:ext cx="67235" cy="67235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76200"/>
                </a:moveTo>
                <a:lnTo>
                  <a:pt x="0" y="76200"/>
                </a:lnTo>
                <a:lnTo>
                  <a:pt x="0" y="0"/>
                </a:lnTo>
                <a:lnTo>
                  <a:pt x="76200" y="0"/>
                </a:lnTo>
                <a:lnTo>
                  <a:pt x="76200" y="7620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56" name="object 256"/>
          <p:cNvSpPr/>
          <p:nvPr/>
        </p:nvSpPr>
        <p:spPr>
          <a:xfrm>
            <a:off x="6307118" y="3141233"/>
            <a:ext cx="67235" cy="67235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76200"/>
                </a:moveTo>
                <a:lnTo>
                  <a:pt x="0" y="76200"/>
                </a:lnTo>
                <a:lnTo>
                  <a:pt x="0" y="0"/>
                </a:lnTo>
                <a:lnTo>
                  <a:pt x="76200" y="0"/>
                </a:lnTo>
                <a:lnTo>
                  <a:pt x="76200" y="7620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57" name="object 257"/>
          <p:cNvSpPr/>
          <p:nvPr/>
        </p:nvSpPr>
        <p:spPr>
          <a:xfrm>
            <a:off x="6307118" y="3275704"/>
            <a:ext cx="67235" cy="67235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76200"/>
                </a:moveTo>
                <a:lnTo>
                  <a:pt x="0" y="76200"/>
                </a:lnTo>
                <a:lnTo>
                  <a:pt x="0" y="0"/>
                </a:lnTo>
                <a:lnTo>
                  <a:pt x="76200" y="0"/>
                </a:lnTo>
                <a:lnTo>
                  <a:pt x="76200" y="7620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58" name="object 258"/>
          <p:cNvSpPr/>
          <p:nvPr/>
        </p:nvSpPr>
        <p:spPr>
          <a:xfrm>
            <a:off x="6307118" y="3410174"/>
            <a:ext cx="67235" cy="67235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76200"/>
                </a:moveTo>
                <a:lnTo>
                  <a:pt x="0" y="76200"/>
                </a:lnTo>
                <a:lnTo>
                  <a:pt x="0" y="0"/>
                </a:lnTo>
                <a:lnTo>
                  <a:pt x="76200" y="0"/>
                </a:lnTo>
                <a:lnTo>
                  <a:pt x="76200" y="7620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59" name="object 259"/>
          <p:cNvSpPr/>
          <p:nvPr/>
        </p:nvSpPr>
        <p:spPr>
          <a:xfrm>
            <a:off x="6307118" y="3544645"/>
            <a:ext cx="67235" cy="67235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76200"/>
                </a:moveTo>
                <a:lnTo>
                  <a:pt x="0" y="76200"/>
                </a:lnTo>
                <a:lnTo>
                  <a:pt x="0" y="0"/>
                </a:lnTo>
                <a:lnTo>
                  <a:pt x="76200" y="0"/>
                </a:lnTo>
                <a:lnTo>
                  <a:pt x="76200" y="7620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60" name="object 260"/>
          <p:cNvSpPr/>
          <p:nvPr/>
        </p:nvSpPr>
        <p:spPr>
          <a:xfrm>
            <a:off x="6307118" y="3679115"/>
            <a:ext cx="67235" cy="67235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76200"/>
                </a:moveTo>
                <a:lnTo>
                  <a:pt x="0" y="76200"/>
                </a:lnTo>
                <a:lnTo>
                  <a:pt x="0" y="0"/>
                </a:lnTo>
                <a:lnTo>
                  <a:pt x="76200" y="0"/>
                </a:lnTo>
                <a:lnTo>
                  <a:pt x="76200" y="7620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61" name="object 261"/>
          <p:cNvSpPr/>
          <p:nvPr/>
        </p:nvSpPr>
        <p:spPr>
          <a:xfrm>
            <a:off x="6307118" y="3813586"/>
            <a:ext cx="67235" cy="67235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76200"/>
                </a:moveTo>
                <a:lnTo>
                  <a:pt x="0" y="76200"/>
                </a:lnTo>
                <a:lnTo>
                  <a:pt x="0" y="0"/>
                </a:lnTo>
                <a:lnTo>
                  <a:pt x="76200" y="0"/>
                </a:lnTo>
                <a:lnTo>
                  <a:pt x="76200" y="7620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62" name="object 262"/>
          <p:cNvSpPr/>
          <p:nvPr/>
        </p:nvSpPr>
        <p:spPr>
          <a:xfrm>
            <a:off x="6307118" y="3948057"/>
            <a:ext cx="67235" cy="67235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76200"/>
                </a:moveTo>
                <a:lnTo>
                  <a:pt x="0" y="76200"/>
                </a:lnTo>
                <a:lnTo>
                  <a:pt x="0" y="0"/>
                </a:lnTo>
                <a:lnTo>
                  <a:pt x="76200" y="0"/>
                </a:lnTo>
                <a:lnTo>
                  <a:pt x="76200" y="7620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63" name="object 263"/>
          <p:cNvSpPr/>
          <p:nvPr/>
        </p:nvSpPr>
        <p:spPr>
          <a:xfrm>
            <a:off x="6307118" y="4082527"/>
            <a:ext cx="67235" cy="67235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76200"/>
                </a:moveTo>
                <a:lnTo>
                  <a:pt x="0" y="76200"/>
                </a:lnTo>
                <a:lnTo>
                  <a:pt x="0" y="0"/>
                </a:lnTo>
                <a:lnTo>
                  <a:pt x="76200" y="0"/>
                </a:lnTo>
                <a:lnTo>
                  <a:pt x="76200" y="7620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64" name="object 264"/>
          <p:cNvSpPr/>
          <p:nvPr/>
        </p:nvSpPr>
        <p:spPr>
          <a:xfrm>
            <a:off x="6307118" y="4216998"/>
            <a:ext cx="67235" cy="67235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76200"/>
                </a:moveTo>
                <a:lnTo>
                  <a:pt x="0" y="76200"/>
                </a:lnTo>
                <a:lnTo>
                  <a:pt x="0" y="0"/>
                </a:lnTo>
                <a:lnTo>
                  <a:pt x="76200" y="0"/>
                </a:lnTo>
                <a:lnTo>
                  <a:pt x="76200" y="7620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65" name="object 265"/>
          <p:cNvSpPr/>
          <p:nvPr/>
        </p:nvSpPr>
        <p:spPr>
          <a:xfrm>
            <a:off x="6307118" y="4351468"/>
            <a:ext cx="67235" cy="67235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76200"/>
                </a:moveTo>
                <a:lnTo>
                  <a:pt x="0" y="76200"/>
                </a:lnTo>
                <a:lnTo>
                  <a:pt x="0" y="0"/>
                </a:lnTo>
                <a:lnTo>
                  <a:pt x="76200" y="0"/>
                </a:lnTo>
                <a:lnTo>
                  <a:pt x="76200" y="7620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66" name="object 266"/>
          <p:cNvSpPr/>
          <p:nvPr/>
        </p:nvSpPr>
        <p:spPr>
          <a:xfrm>
            <a:off x="6307118" y="4485939"/>
            <a:ext cx="67235" cy="67235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76200"/>
                </a:moveTo>
                <a:lnTo>
                  <a:pt x="0" y="76200"/>
                </a:lnTo>
                <a:lnTo>
                  <a:pt x="0" y="0"/>
                </a:lnTo>
                <a:lnTo>
                  <a:pt x="76200" y="0"/>
                </a:lnTo>
                <a:lnTo>
                  <a:pt x="76200" y="7620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67" name="object 267"/>
          <p:cNvSpPr/>
          <p:nvPr/>
        </p:nvSpPr>
        <p:spPr>
          <a:xfrm>
            <a:off x="6307118" y="4620410"/>
            <a:ext cx="67235" cy="67235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76200"/>
                </a:moveTo>
                <a:lnTo>
                  <a:pt x="0" y="76200"/>
                </a:lnTo>
                <a:lnTo>
                  <a:pt x="0" y="0"/>
                </a:lnTo>
                <a:lnTo>
                  <a:pt x="76200" y="0"/>
                </a:lnTo>
                <a:lnTo>
                  <a:pt x="76200" y="7620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68" name="object 268"/>
          <p:cNvSpPr/>
          <p:nvPr/>
        </p:nvSpPr>
        <p:spPr>
          <a:xfrm>
            <a:off x="6307118" y="4754880"/>
            <a:ext cx="67235" cy="67235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76200"/>
                </a:moveTo>
                <a:lnTo>
                  <a:pt x="0" y="76200"/>
                </a:lnTo>
                <a:lnTo>
                  <a:pt x="0" y="0"/>
                </a:lnTo>
                <a:lnTo>
                  <a:pt x="76200" y="0"/>
                </a:lnTo>
                <a:lnTo>
                  <a:pt x="76200" y="7620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69" name="object 269"/>
          <p:cNvSpPr/>
          <p:nvPr/>
        </p:nvSpPr>
        <p:spPr>
          <a:xfrm>
            <a:off x="6307118" y="4889351"/>
            <a:ext cx="67235" cy="67235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76200"/>
                </a:moveTo>
                <a:lnTo>
                  <a:pt x="0" y="76200"/>
                </a:lnTo>
                <a:lnTo>
                  <a:pt x="0" y="0"/>
                </a:lnTo>
                <a:lnTo>
                  <a:pt x="76200" y="0"/>
                </a:lnTo>
                <a:lnTo>
                  <a:pt x="76200" y="7620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70" name="object 270"/>
          <p:cNvSpPr/>
          <p:nvPr/>
        </p:nvSpPr>
        <p:spPr>
          <a:xfrm>
            <a:off x="6307118" y="5023821"/>
            <a:ext cx="67235" cy="48745"/>
          </a:xfrm>
          <a:custGeom>
            <a:avLst/>
            <a:gdLst/>
            <a:ahLst/>
            <a:cxnLst/>
            <a:rect l="l" t="t" r="r" b="b"/>
            <a:pathLst>
              <a:path w="76200" h="55245">
                <a:moveTo>
                  <a:pt x="76200" y="54864"/>
                </a:moveTo>
                <a:lnTo>
                  <a:pt x="0" y="54864"/>
                </a:lnTo>
                <a:lnTo>
                  <a:pt x="0" y="0"/>
                </a:lnTo>
                <a:lnTo>
                  <a:pt x="76200" y="0"/>
                </a:lnTo>
                <a:lnTo>
                  <a:pt x="76200" y="54864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71" name="object 271"/>
          <p:cNvSpPr/>
          <p:nvPr/>
        </p:nvSpPr>
        <p:spPr>
          <a:xfrm>
            <a:off x="3346077" y="2470225"/>
            <a:ext cx="230281" cy="2593041"/>
          </a:xfrm>
          <a:custGeom>
            <a:avLst/>
            <a:gdLst/>
            <a:ahLst/>
            <a:cxnLst/>
            <a:rect l="l" t="t" r="r" b="b"/>
            <a:pathLst>
              <a:path w="260985" h="2938779">
                <a:moveTo>
                  <a:pt x="0" y="0"/>
                </a:moveTo>
                <a:lnTo>
                  <a:pt x="260604" y="0"/>
                </a:lnTo>
                <a:lnTo>
                  <a:pt x="260604" y="2938272"/>
                </a:lnTo>
                <a:lnTo>
                  <a:pt x="0" y="2938272"/>
                </a:lnTo>
                <a:lnTo>
                  <a:pt x="0" y="0"/>
                </a:lnTo>
                <a:close/>
              </a:path>
            </a:pathLst>
          </a:custGeom>
          <a:solidFill>
            <a:srgbClr val="BFBFBF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72" name="object 272"/>
          <p:cNvSpPr/>
          <p:nvPr/>
        </p:nvSpPr>
        <p:spPr>
          <a:xfrm>
            <a:off x="7942282" y="2450053"/>
            <a:ext cx="228599" cy="2622176"/>
          </a:xfrm>
          <a:custGeom>
            <a:avLst/>
            <a:gdLst/>
            <a:ahLst/>
            <a:cxnLst/>
            <a:rect l="l" t="t" r="r" b="b"/>
            <a:pathLst>
              <a:path w="259079" h="2971800">
                <a:moveTo>
                  <a:pt x="0" y="0"/>
                </a:moveTo>
                <a:lnTo>
                  <a:pt x="259080" y="0"/>
                </a:lnTo>
                <a:lnTo>
                  <a:pt x="259080" y="2971800"/>
                </a:lnTo>
                <a:lnTo>
                  <a:pt x="0" y="2971800"/>
                </a:lnTo>
                <a:lnTo>
                  <a:pt x="0" y="0"/>
                </a:lnTo>
                <a:close/>
              </a:path>
            </a:pathLst>
          </a:custGeom>
          <a:solidFill>
            <a:srgbClr val="FFCC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73" name="object 273"/>
          <p:cNvSpPr txBox="1"/>
          <p:nvPr/>
        </p:nvSpPr>
        <p:spPr>
          <a:xfrm>
            <a:off x="3346077" y="3154229"/>
            <a:ext cx="230281" cy="255678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22413" defTabSz="806867">
              <a:spcBef>
                <a:spcPts val="88"/>
              </a:spcBef>
            </a:pPr>
            <a:r>
              <a:rPr sz="2382" spc="238" baseline="-16975" dirty="0">
                <a:solidFill>
                  <a:prstClr val="black"/>
                </a:solidFill>
                <a:latin typeface="Times New Roman"/>
                <a:cs typeface="Times New Roman"/>
              </a:rPr>
              <a:t>e</a:t>
            </a:r>
            <a:r>
              <a:rPr sz="1059" spc="159" dirty="0">
                <a:solidFill>
                  <a:prstClr val="black"/>
                </a:solidFill>
                <a:latin typeface="Times New Roman"/>
                <a:cs typeface="Times New Roman"/>
              </a:rPr>
              <a:t>-</a:t>
            </a:r>
            <a:endParaRPr sz="1059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274" name="object 274"/>
          <p:cNvSpPr/>
          <p:nvPr/>
        </p:nvSpPr>
        <p:spPr>
          <a:xfrm>
            <a:off x="3407933" y="2947595"/>
            <a:ext cx="76760" cy="329453"/>
          </a:xfrm>
          <a:custGeom>
            <a:avLst/>
            <a:gdLst/>
            <a:ahLst/>
            <a:cxnLst/>
            <a:rect l="l" t="t" r="r" b="b"/>
            <a:pathLst>
              <a:path w="86994" h="373379">
                <a:moveTo>
                  <a:pt x="0" y="86868"/>
                </a:moveTo>
                <a:lnTo>
                  <a:pt x="41148" y="0"/>
                </a:lnTo>
                <a:lnTo>
                  <a:pt x="78241" y="71628"/>
                </a:lnTo>
                <a:lnTo>
                  <a:pt x="27432" y="71628"/>
                </a:lnTo>
                <a:lnTo>
                  <a:pt x="27626" y="86374"/>
                </a:lnTo>
                <a:lnTo>
                  <a:pt x="0" y="86868"/>
                </a:lnTo>
                <a:close/>
              </a:path>
              <a:path w="86994" h="373379">
                <a:moveTo>
                  <a:pt x="27626" y="86374"/>
                </a:moveTo>
                <a:lnTo>
                  <a:pt x="27432" y="71628"/>
                </a:lnTo>
                <a:lnTo>
                  <a:pt x="56388" y="71628"/>
                </a:lnTo>
                <a:lnTo>
                  <a:pt x="56482" y="85859"/>
                </a:lnTo>
                <a:lnTo>
                  <a:pt x="27626" y="86374"/>
                </a:lnTo>
                <a:close/>
              </a:path>
              <a:path w="86994" h="373379">
                <a:moveTo>
                  <a:pt x="56482" y="85859"/>
                </a:moveTo>
                <a:lnTo>
                  <a:pt x="56388" y="71628"/>
                </a:lnTo>
                <a:lnTo>
                  <a:pt x="78241" y="71628"/>
                </a:lnTo>
                <a:lnTo>
                  <a:pt x="85344" y="85344"/>
                </a:lnTo>
                <a:lnTo>
                  <a:pt x="56482" y="85859"/>
                </a:lnTo>
                <a:close/>
              </a:path>
              <a:path w="86994" h="373379">
                <a:moveTo>
                  <a:pt x="30480" y="303276"/>
                </a:moveTo>
                <a:lnTo>
                  <a:pt x="27626" y="86374"/>
                </a:lnTo>
                <a:lnTo>
                  <a:pt x="56482" y="85859"/>
                </a:lnTo>
                <a:lnTo>
                  <a:pt x="57912" y="301752"/>
                </a:lnTo>
                <a:lnTo>
                  <a:pt x="30480" y="303276"/>
                </a:lnTo>
                <a:close/>
              </a:path>
              <a:path w="86994" h="373379">
                <a:moveTo>
                  <a:pt x="44196" y="373380"/>
                </a:moveTo>
                <a:lnTo>
                  <a:pt x="1524" y="288036"/>
                </a:lnTo>
                <a:lnTo>
                  <a:pt x="30279" y="288036"/>
                </a:lnTo>
                <a:lnTo>
                  <a:pt x="30480" y="303276"/>
                </a:lnTo>
                <a:lnTo>
                  <a:pt x="79248" y="303276"/>
                </a:lnTo>
                <a:lnTo>
                  <a:pt x="44196" y="373380"/>
                </a:lnTo>
                <a:close/>
              </a:path>
              <a:path w="86994" h="373379">
                <a:moveTo>
                  <a:pt x="79248" y="303276"/>
                </a:moveTo>
                <a:lnTo>
                  <a:pt x="30480" y="303276"/>
                </a:lnTo>
                <a:lnTo>
                  <a:pt x="57912" y="301752"/>
                </a:lnTo>
                <a:lnTo>
                  <a:pt x="57821" y="288036"/>
                </a:lnTo>
                <a:lnTo>
                  <a:pt x="86868" y="288036"/>
                </a:lnTo>
                <a:lnTo>
                  <a:pt x="79248" y="303276"/>
                </a:lnTo>
                <a:close/>
              </a:path>
            </a:pathLst>
          </a:custGeom>
          <a:solidFill>
            <a:srgbClr val="0070BF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75" name="object 275"/>
          <p:cNvSpPr txBox="1"/>
          <p:nvPr/>
        </p:nvSpPr>
        <p:spPr>
          <a:xfrm>
            <a:off x="7942282" y="3076226"/>
            <a:ext cx="228599" cy="255678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24094" defTabSz="806867">
              <a:spcBef>
                <a:spcPts val="88"/>
              </a:spcBef>
            </a:pPr>
            <a:r>
              <a:rPr sz="2382" spc="238" baseline="-16975" dirty="0">
                <a:solidFill>
                  <a:prstClr val="black"/>
                </a:solidFill>
                <a:latin typeface="Times New Roman"/>
                <a:cs typeface="Times New Roman"/>
              </a:rPr>
              <a:t>e</a:t>
            </a:r>
            <a:r>
              <a:rPr sz="1059" spc="159" dirty="0">
                <a:solidFill>
                  <a:prstClr val="black"/>
                </a:solidFill>
                <a:latin typeface="Times New Roman"/>
                <a:cs typeface="Times New Roman"/>
              </a:rPr>
              <a:t>-</a:t>
            </a:r>
            <a:endParaRPr sz="1059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276" name="object 276"/>
          <p:cNvSpPr/>
          <p:nvPr/>
        </p:nvSpPr>
        <p:spPr>
          <a:xfrm>
            <a:off x="8005482" y="2870947"/>
            <a:ext cx="78441" cy="329453"/>
          </a:xfrm>
          <a:custGeom>
            <a:avLst/>
            <a:gdLst/>
            <a:ahLst/>
            <a:cxnLst/>
            <a:rect l="l" t="t" r="r" b="b"/>
            <a:pathLst>
              <a:path w="88900" h="373379">
                <a:moveTo>
                  <a:pt x="29046" y="85344"/>
                </a:moveTo>
                <a:lnTo>
                  <a:pt x="0" y="85344"/>
                </a:lnTo>
                <a:lnTo>
                  <a:pt x="42672" y="0"/>
                </a:lnTo>
                <a:lnTo>
                  <a:pt x="79765" y="71628"/>
                </a:lnTo>
                <a:lnTo>
                  <a:pt x="28956" y="71628"/>
                </a:lnTo>
                <a:lnTo>
                  <a:pt x="29046" y="85344"/>
                </a:lnTo>
                <a:close/>
              </a:path>
              <a:path w="88900" h="373379">
                <a:moveTo>
                  <a:pt x="30385" y="287547"/>
                </a:moveTo>
                <a:lnTo>
                  <a:pt x="28956" y="71628"/>
                </a:lnTo>
                <a:lnTo>
                  <a:pt x="57912" y="71628"/>
                </a:lnTo>
                <a:lnTo>
                  <a:pt x="59338" y="287030"/>
                </a:lnTo>
                <a:lnTo>
                  <a:pt x="30385" y="287547"/>
                </a:lnTo>
                <a:close/>
              </a:path>
              <a:path w="88900" h="373379">
                <a:moveTo>
                  <a:pt x="86868" y="85344"/>
                </a:moveTo>
                <a:lnTo>
                  <a:pt x="58002" y="85344"/>
                </a:lnTo>
                <a:lnTo>
                  <a:pt x="57912" y="71628"/>
                </a:lnTo>
                <a:lnTo>
                  <a:pt x="79765" y="71628"/>
                </a:lnTo>
                <a:lnTo>
                  <a:pt x="86868" y="85344"/>
                </a:lnTo>
                <a:close/>
              </a:path>
              <a:path w="88900" h="373379">
                <a:moveTo>
                  <a:pt x="80905" y="301752"/>
                </a:moveTo>
                <a:lnTo>
                  <a:pt x="59436" y="301752"/>
                </a:lnTo>
                <a:lnTo>
                  <a:pt x="59338" y="287030"/>
                </a:lnTo>
                <a:lnTo>
                  <a:pt x="88392" y="286512"/>
                </a:lnTo>
                <a:lnTo>
                  <a:pt x="80905" y="301752"/>
                </a:lnTo>
                <a:close/>
              </a:path>
              <a:path w="88900" h="373379">
                <a:moveTo>
                  <a:pt x="59436" y="301752"/>
                </a:moveTo>
                <a:lnTo>
                  <a:pt x="30480" y="301752"/>
                </a:lnTo>
                <a:lnTo>
                  <a:pt x="30385" y="287547"/>
                </a:lnTo>
                <a:lnTo>
                  <a:pt x="59338" y="287030"/>
                </a:lnTo>
                <a:lnTo>
                  <a:pt x="59436" y="301752"/>
                </a:lnTo>
                <a:close/>
              </a:path>
              <a:path w="88900" h="373379">
                <a:moveTo>
                  <a:pt x="45720" y="373380"/>
                </a:moveTo>
                <a:lnTo>
                  <a:pt x="3048" y="288036"/>
                </a:lnTo>
                <a:lnTo>
                  <a:pt x="30385" y="287547"/>
                </a:lnTo>
                <a:lnTo>
                  <a:pt x="30480" y="301752"/>
                </a:lnTo>
                <a:lnTo>
                  <a:pt x="80905" y="301752"/>
                </a:lnTo>
                <a:lnTo>
                  <a:pt x="45720" y="373380"/>
                </a:lnTo>
                <a:close/>
              </a:path>
            </a:pathLst>
          </a:custGeom>
          <a:solidFill>
            <a:srgbClr val="0070BF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77" name="object 277"/>
          <p:cNvSpPr txBox="1"/>
          <p:nvPr/>
        </p:nvSpPr>
        <p:spPr>
          <a:xfrm>
            <a:off x="3680471" y="1693900"/>
            <a:ext cx="179294" cy="255678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2382" spc="258" baseline="-16975" dirty="0">
                <a:solidFill>
                  <a:srgbClr val="F7C68E"/>
                </a:solidFill>
                <a:latin typeface="Times New Roman"/>
                <a:cs typeface="Times New Roman"/>
              </a:rPr>
              <a:t>e</a:t>
            </a:r>
            <a:r>
              <a:rPr sz="1059" dirty="0">
                <a:solidFill>
                  <a:srgbClr val="F7C68E"/>
                </a:solidFill>
                <a:latin typeface="Times New Roman"/>
                <a:cs typeface="Times New Roman"/>
              </a:rPr>
              <a:t>-</a:t>
            </a:r>
            <a:endParaRPr sz="1059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278" name="object 278"/>
          <p:cNvSpPr/>
          <p:nvPr/>
        </p:nvSpPr>
        <p:spPr>
          <a:xfrm>
            <a:off x="4663889" y="3589019"/>
            <a:ext cx="466725" cy="99732"/>
          </a:xfrm>
          <a:custGeom>
            <a:avLst/>
            <a:gdLst/>
            <a:ahLst/>
            <a:cxnLst/>
            <a:rect l="l" t="t" r="r" b="b"/>
            <a:pathLst>
              <a:path w="528954" h="113029">
                <a:moveTo>
                  <a:pt x="514936" y="77724"/>
                </a:moveTo>
                <a:lnTo>
                  <a:pt x="432816" y="77724"/>
                </a:lnTo>
                <a:lnTo>
                  <a:pt x="439793" y="77271"/>
                </a:lnTo>
                <a:lnTo>
                  <a:pt x="446341" y="74104"/>
                </a:lnTo>
                <a:lnTo>
                  <a:pt x="451461" y="68937"/>
                </a:lnTo>
                <a:lnTo>
                  <a:pt x="454152" y="62484"/>
                </a:lnTo>
                <a:lnTo>
                  <a:pt x="453675" y="54625"/>
                </a:lnTo>
                <a:lnTo>
                  <a:pt x="450342" y="47625"/>
                </a:lnTo>
                <a:lnTo>
                  <a:pt x="444722" y="42338"/>
                </a:lnTo>
                <a:lnTo>
                  <a:pt x="437388" y="39624"/>
                </a:lnTo>
                <a:lnTo>
                  <a:pt x="418615" y="37415"/>
                </a:lnTo>
                <a:lnTo>
                  <a:pt x="423672" y="0"/>
                </a:lnTo>
                <a:lnTo>
                  <a:pt x="528828" y="73152"/>
                </a:lnTo>
                <a:lnTo>
                  <a:pt x="514936" y="77724"/>
                </a:lnTo>
                <a:close/>
              </a:path>
              <a:path w="528954" h="113029">
                <a:moveTo>
                  <a:pt x="413476" y="75448"/>
                </a:moveTo>
                <a:lnTo>
                  <a:pt x="344424" y="67056"/>
                </a:lnTo>
                <a:lnTo>
                  <a:pt x="216408" y="57912"/>
                </a:lnTo>
                <a:lnTo>
                  <a:pt x="85344" y="51816"/>
                </a:lnTo>
                <a:lnTo>
                  <a:pt x="18288" y="51816"/>
                </a:lnTo>
                <a:lnTo>
                  <a:pt x="10929" y="50220"/>
                </a:lnTo>
                <a:lnTo>
                  <a:pt x="5143" y="45910"/>
                </a:lnTo>
                <a:lnTo>
                  <a:pt x="1357" y="39600"/>
                </a:lnTo>
                <a:lnTo>
                  <a:pt x="0" y="32004"/>
                </a:lnTo>
                <a:lnTo>
                  <a:pt x="1571" y="24645"/>
                </a:lnTo>
                <a:lnTo>
                  <a:pt x="5715" y="18859"/>
                </a:lnTo>
                <a:lnTo>
                  <a:pt x="11572" y="15073"/>
                </a:lnTo>
                <a:lnTo>
                  <a:pt x="18288" y="13716"/>
                </a:lnTo>
                <a:lnTo>
                  <a:pt x="86868" y="13716"/>
                </a:lnTo>
                <a:lnTo>
                  <a:pt x="219456" y="19812"/>
                </a:lnTo>
                <a:lnTo>
                  <a:pt x="348996" y="28956"/>
                </a:lnTo>
                <a:lnTo>
                  <a:pt x="418615" y="37415"/>
                </a:lnTo>
                <a:lnTo>
                  <a:pt x="413476" y="75448"/>
                </a:lnTo>
                <a:close/>
              </a:path>
              <a:path w="528954" h="113029">
                <a:moveTo>
                  <a:pt x="432816" y="77724"/>
                </a:moveTo>
                <a:lnTo>
                  <a:pt x="413476" y="75448"/>
                </a:lnTo>
                <a:lnTo>
                  <a:pt x="418615" y="37415"/>
                </a:lnTo>
                <a:lnTo>
                  <a:pt x="437388" y="39624"/>
                </a:lnTo>
                <a:lnTo>
                  <a:pt x="444722" y="42338"/>
                </a:lnTo>
                <a:lnTo>
                  <a:pt x="450342" y="47625"/>
                </a:lnTo>
                <a:lnTo>
                  <a:pt x="453675" y="54625"/>
                </a:lnTo>
                <a:lnTo>
                  <a:pt x="454152" y="62484"/>
                </a:lnTo>
                <a:lnTo>
                  <a:pt x="451461" y="68937"/>
                </a:lnTo>
                <a:lnTo>
                  <a:pt x="446341" y="74104"/>
                </a:lnTo>
                <a:lnTo>
                  <a:pt x="439793" y="77271"/>
                </a:lnTo>
                <a:lnTo>
                  <a:pt x="432816" y="77724"/>
                </a:lnTo>
                <a:close/>
              </a:path>
              <a:path w="528954" h="113029">
                <a:moveTo>
                  <a:pt x="408432" y="112776"/>
                </a:moveTo>
                <a:lnTo>
                  <a:pt x="413476" y="75448"/>
                </a:lnTo>
                <a:lnTo>
                  <a:pt x="432816" y="77724"/>
                </a:lnTo>
                <a:lnTo>
                  <a:pt x="514936" y="77724"/>
                </a:lnTo>
                <a:lnTo>
                  <a:pt x="408432" y="112776"/>
                </a:lnTo>
                <a:close/>
              </a:path>
            </a:pathLst>
          </a:custGeom>
          <a:solidFill>
            <a:srgbClr val="FF99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79" name="object 279"/>
          <p:cNvSpPr/>
          <p:nvPr/>
        </p:nvSpPr>
        <p:spPr>
          <a:xfrm>
            <a:off x="5072679" y="1822077"/>
            <a:ext cx="808504" cy="284069"/>
          </a:xfrm>
          <a:custGeom>
            <a:avLst/>
            <a:gdLst/>
            <a:ahLst/>
            <a:cxnLst/>
            <a:rect l="l" t="t" r="r" b="b"/>
            <a:pathLst>
              <a:path w="916304" h="321944">
                <a:moveTo>
                  <a:pt x="915924" y="321564"/>
                </a:moveTo>
                <a:lnTo>
                  <a:pt x="0" y="321564"/>
                </a:lnTo>
                <a:lnTo>
                  <a:pt x="0" y="0"/>
                </a:lnTo>
                <a:lnTo>
                  <a:pt x="915924" y="0"/>
                </a:lnTo>
                <a:lnTo>
                  <a:pt x="915924" y="6096"/>
                </a:lnTo>
                <a:lnTo>
                  <a:pt x="12192" y="6096"/>
                </a:lnTo>
                <a:lnTo>
                  <a:pt x="6096" y="12192"/>
                </a:lnTo>
                <a:lnTo>
                  <a:pt x="12192" y="12192"/>
                </a:lnTo>
                <a:lnTo>
                  <a:pt x="12192" y="309372"/>
                </a:lnTo>
                <a:lnTo>
                  <a:pt x="6096" y="309372"/>
                </a:lnTo>
                <a:lnTo>
                  <a:pt x="12192" y="315468"/>
                </a:lnTo>
                <a:lnTo>
                  <a:pt x="915924" y="315468"/>
                </a:lnTo>
                <a:lnTo>
                  <a:pt x="915924" y="321564"/>
                </a:lnTo>
                <a:close/>
              </a:path>
              <a:path w="916304" h="321944">
                <a:moveTo>
                  <a:pt x="12192" y="12192"/>
                </a:moveTo>
                <a:lnTo>
                  <a:pt x="6096" y="12192"/>
                </a:lnTo>
                <a:lnTo>
                  <a:pt x="12192" y="6096"/>
                </a:lnTo>
                <a:lnTo>
                  <a:pt x="12192" y="12192"/>
                </a:lnTo>
                <a:close/>
              </a:path>
              <a:path w="916304" h="321944">
                <a:moveTo>
                  <a:pt x="902208" y="12192"/>
                </a:moveTo>
                <a:lnTo>
                  <a:pt x="12192" y="12192"/>
                </a:lnTo>
                <a:lnTo>
                  <a:pt x="12192" y="6096"/>
                </a:lnTo>
                <a:lnTo>
                  <a:pt x="902208" y="6096"/>
                </a:lnTo>
                <a:lnTo>
                  <a:pt x="902208" y="12192"/>
                </a:lnTo>
                <a:close/>
              </a:path>
              <a:path w="916304" h="321944">
                <a:moveTo>
                  <a:pt x="902208" y="315468"/>
                </a:moveTo>
                <a:lnTo>
                  <a:pt x="902208" y="6096"/>
                </a:lnTo>
                <a:lnTo>
                  <a:pt x="909828" y="12192"/>
                </a:lnTo>
                <a:lnTo>
                  <a:pt x="915924" y="12192"/>
                </a:lnTo>
                <a:lnTo>
                  <a:pt x="915924" y="309372"/>
                </a:lnTo>
                <a:lnTo>
                  <a:pt x="909828" y="309372"/>
                </a:lnTo>
                <a:lnTo>
                  <a:pt x="902208" y="315468"/>
                </a:lnTo>
                <a:close/>
              </a:path>
              <a:path w="916304" h="321944">
                <a:moveTo>
                  <a:pt x="915924" y="12192"/>
                </a:moveTo>
                <a:lnTo>
                  <a:pt x="909828" y="12192"/>
                </a:lnTo>
                <a:lnTo>
                  <a:pt x="902208" y="6096"/>
                </a:lnTo>
                <a:lnTo>
                  <a:pt x="915924" y="6096"/>
                </a:lnTo>
                <a:lnTo>
                  <a:pt x="915924" y="12192"/>
                </a:lnTo>
                <a:close/>
              </a:path>
              <a:path w="916304" h="321944">
                <a:moveTo>
                  <a:pt x="12192" y="315468"/>
                </a:moveTo>
                <a:lnTo>
                  <a:pt x="6096" y="309372"/>
                </a:lnTo>
                <a:lnTo>
                  <a:pt x="12192" y="309372"/>
                </a:lnTo>
                <a:lnTo>
                  <a:pt x="12192" y="315468"/>
                </a:lnTo>
                <a:close/>
              </a:path>
              <a:path w="916304" h="321944">
                <a:moveTo>
                  <a:pt x="902208" y="315468"/>
                </a:moveTo>
                <a:lnTo>
                  <a:pt x="12192" y="315468"/>
                </a:lnTo>
                <a:lnTo>
                  <a:pt x="12192" y="309372"/>
                </a:lnTo>
                <a:lnTo>
                  <a:pt x="902208" y="309372"/>
                </a:lnTo>
                <a:lnTo>
                  <a:pt x="902208" y="315468"/>
                </a:lnTo>
                <a:close/>
              </a:path>
              <a:path w="916304" h="321944">
                <a:moveTo>
                  <a:pt x="915924" y="315468"/>
                </a:moveTo>
                <a:lnTo>
                  <a:pt x="902208" y="315468"/>
                </a:lnTo>
                <a:lnTo>
                  <a:pt x="909828" y="309372"/>
                </a:lnTo>
                <a:lnTo>
                  <a:pt x="915924" y="309372"/>
                </a:lnTo>
                <a:lnTo>
                  <a:pt x="915924" y="31546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0" name="object 280"/>
          <p:cNvSpPr/>
          <p:nvPr/>
        </p:nvSpPr>
        <p:spPr>
          <a:xfrm>
            <a:off x="3438861" y="2019748"/>
            <a:ext cx="0" cy="468406"/>
          </a:xfrm>
          <a:custGeom>
            <a:avLst/>
            <a:gdLst/>
            <a:ahLst/>
            <a:cxnLst/>
            <a:rect l="l" t="t" r="r" b="b"/>
            <a:pathLst>
              <a:path h="530860">
                <a:moveTo>
                  <a:pt x="0" y="0"/>
                </a:moveTo>
                <a:lnTo>
                  <a:pt x="0" y="530352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1" name="object 281"/>
          <p:cNvSpPr/>
          <p:nvPr/>
        </p:nvSpPr>
        <p:spPr>
          <a:xfrm>
            <a:off x="8042462" y="2010336"/>
            <a:ext cx="0" cy="453278"/>
          </a:xfrm>
          <a:custGeom>
            <a:avLst/>
            <a:gdLst/>
            <a:ahLst/>
            <a:cxnLst/>
            <a:rect l="l" t="t" r="r" b="b"/>
            <a:pathLst>
              <a:path h="513714">
                <a:moveTo>
                  <a:pt x="0" y="0"/>
                </a:moveTo>
                <a:lnTo>
                  <a:pt x="0" y="513588"/>
                </a:lnTo>
              </a:path>
            </a:pathLst>
          </a:custGeom>
          <a:ln w="198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2" name="object 282"/>
          <p:cNvSpPr/>
          <p:nvPr/>
        </p:nvSpPr>
        <p:spPr>
          <a:xfrm>
            <a:off x="3440206" y="2017059"/>
            <a:ext cx="1638299" cy="0"/>
          </a:xfrm>
          <a:custGeom>
            <a:avLst/>
            <a:gdLst/>
            <a:ahLst/>
            <a:cxnLst/>
            <a:rect l="l" t="t" r="r" b="b"/>
            <a:pathLst>
              <a:path w="1856739">
                <a:moveTo>
                  <a:pt x="0" y="0"/>
                </a:moveTo>
                <a:lnTo>
                  <a:pt x="1856232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3" name="object 283"/>
          <p:cNvSpPr/>
          <p:nvPr/>
        </p:nvSpPr>
        <p:spPr>
          <a:xfrm>
            <a:off x="5883537" y="2008990"/>
            <a:ext cx="2159934" cy="0"/>
          </a:xfrm>
          <a:custGeom>
            <a:avLst/>
            <a:gdLst/>
            <a:ahLst/>
            <a:cxnLst/>
            <a:rect l="l" t="t" r="r" b="b"/>
            <a:pathLst>
              <a:path w="2447925">
                <a:moveTo>
                  <a:pt x="0" y="0"/>
                </a:moveTo>
                <a:lnTo>
                  <a:pt x="2447544" y="0"/>
                </a:lnTo>
              </a:path>
            </a:pathLst>
          </a:custGeom>
          <a:ln w="1828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4" name="object 284"/>
          <p:cNvSpPr/>
          <p:nvPr/>
        </p:nvSpPr>
        <p:spPr>
          <a:xfrm>
            <a:off x="6214333" y="1971338"/>
            <a:ext cx="369794" cy="75640"/>
          </a:xfrm>
          <a:custGeom>
            <a:avLst/>
            <a:gdLst/>
            <a:ahLst/>
            <a:cxnLst/>
            <a:rect l="l" t="t" r="r" b="b"/>
            <a:pathLst>
              <a:path w="419100" h="85725">
                <a:moveTo>
                  <a:pt x="332232" y="85344"/>
                </a:moveTo>
                <a:lnTo>
                  <a:pt x="332232" y="0"/>
                </a:lnTo>
                <a:lnTo>
                  <a:pt x="391178" y="28956"/>
                </a:lnTo>
                <a:lnTo>
                  <a:pt x="347472" y="28956"/>
                </a:lnTo>
                <a:lnTo>
                  <a:pt x="347472" y="56388"/>
                </a:lnTo>
                <a:lnTo>
                  <a:pt x="391178" y="56388"/>
                </a:lnTo>
                <a:lnTo>
                  <a:pt x="332232" y="85344"/>
                </a:lnTo>
                <a:close/>
              </a:path>
              <a:path w="419100" h="85725">
                <a:moveTo>
                  <a:pt x="332232" y="56388"/>
                </a:moveTo>
                <a:lnTo>
                  <a:pt x="0" y="56388"/>
                </a:lnTo>
                <a:lnTo>
                  <a:pt x="0" y="28956"/>
                </a:lnTo>
                <a:lnTo>
                  <a:pt x="332232" y="28956"/>
                </a:lnTo>
                <a:lnTo>
                  <a:pt x="332232" y="56388"/>
                </a:lnTo>
                <a:close/>
              </a:path>
              <a:path w="419100" h="85725">
                <a:moveTo>
                  <a:pt x="391178" y="56388"/>
                </a:moveTo>
                <a:lnTo>
                  <a:pt x="347472" y="56388"/>
                </a:lnTo>
                <a:lnTo>
                  <a:pt x="347472" y="28956"/>
                </a:lnTo>
                <a:lnTo>
                  <a:pt x="391178" y="28956"/>
                </a:lnTo>
                <a:lnTo>
                  <a:pt x="419100" y="42672"/>
                </a:lnTo>
                <a:lnTo>
                  <a:pt x="391178" y="56388"/>
                </a:lnTo>
                <a:close/>
              </a:path>
            </a:pathLst>
          </a:custGeom>
          <a:solidFill>
            <a:srgbClr val="0000FF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5" name="object 285"/>
          <p:cNvSpPr txBox="1"/>
          <p:nvPr/>
        </p:nvSpPr>
        <p:spPr>
          <a:xfrm>
            <a:off x="4051597" y="1765132"/>
            <a:ext cx="624168" cy="187273"/>
          </a:xfrm>
          <a:prstGeom prst="rect">
            <a:avLst/>
          </a:prstGeom>
        </p:spPr>
        <p:txBody>
          <a:bodyPr vert="horz" wrap="square" lIns="0" tIns="10646" rIns="0" bIns="0" rtlCol="0">
            <a:spAutoFit/>
          </a:bodyPr>
          <a:lstStyle/>
          <a:p>
            <a:pPr marL="11206" defTabSz="806867">
              <a:spcBef>
                <a:spcPts val="84"/>
              </a:spcBef>
            </a:pPr>
            <a:r>
              <a:rPr sz="1147" spc="124" dirty="0">
                <a:solidFill>
                  <a:srgbClr val="FF6600"/>
                </a:solidFill>
                <a:latin typeface="Times New Roman"/>
                <a:cs typeface="Times New Roman"/>
              </a:rPr>
              <a:t>C</a:t>
            </a:r>
            <a:r>
              <a:rPr sz="1147" spc="-66" dirty="0">
                <a:solidFill>
                  <a:srgbClr val="FF6600"/>
                </a:solidFill>
                <a:latin typeface="Times New Roman"/>
                <a:cs typeface="Times New Roman"/>
              </a:rPr>
              <a:t>H</a:t>
            </a:r>
            <a:r>
              <a:rPr sz="1147" spc="13" dirty="0">
                <a:solidFill>
                  <a:srgbClr val="FF6600"/>
                </a:solidFill>
                <a:latin typeface="Times New Roman"/>
                <a:cs typeface="Times New Roman"/>
              </a:rPr>
              <a:t>A</a:t>
            </a:r>
            <a:r>
              <a:rPr sz="1147" spc="-97" dirty="0">
                <a:solidFill>
                  <a:srgbClr val="FF6600"/>
                </a:solidFill>
                <a:latin typeface="Times New Roman"/>
                <a:cs typeface="Times New Roman"/>
              </a:rPr>
              <a:t>R</a:t>
            </a:r>
            <a:r>
              <a:rPr sz="1147" spc="128" dirty="0">
                <a:solidFill>
                  <a:srgbClr val="FF6600"/>
                </a:solidFill>
                <a:latin typeface="Times New Roman"/>
                <a:cs typeface="Times New Roman"/>
              </a:rPr>
              <a:t>G</a:t>
            </a:r>
            <a:r>
              <a:rPr sz="1147" spc="-110" dirty="0">
                <a:solidFill>
                  <a:srgbClr val="FF6600"/>
                </a:solidFill>
                <a:latin typeface="Times New Roman"/>
                <a:cs typeface="Times New Roman"/>
              </a:rPr>
              <a:t>E</a:t>
            </a:r>
            <a:endParaRPr sz="1147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286" name="object 286"/>
          <p:cNvSpPr txBox="1"/>
          <p:nvPr/>
        </p:nvSpPr>
        <p:spPr>
          <a:xfrm>
            <a:off x="5065480" y="1908992"/>
            <a:ext cx="568138" cy="146493"/>
          </a:xfrm>
          <a:prstGeom prst="rect">
            <a:avLst/>
          </a:prstGeom>
        </p:spPr>
        <p:txBody>
          <a:bodyPr vert="horz" wrap="square" lIns="0" tIns="10646" rIns="0" bIns="0" rtlCol="0">
            <a:spAutoFit/>
          </a:bodyPr>
          <a:lstStyle/>
          <a:p>
            <a:pPr marL="11206" defTabSz="806867">
              <a:spcBef>
                <a:spcPts val="84"/>
              </a:spcBef>
            </a:pPr>
            <a:r>
              <a:rPr sz="882" spc="88" dirty="0">
                <a:solidFill>
                  <a:prstClr val="black"/>
                </a:solidFill>
                <a:latin typeface="Times New Roman"/>
                <a:cs typeface="Times New Roman"/>
              </a:rPr>
              <a:t>en</a:t>
            </a:r>
            <a:r>
              <a:rPr sz="882" spc="-4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882" spc="79" dirty="0">
                <a:solidFill>
                  <a:prstClr val="black"/>
                </a:solidFill>
                <a:latin typeface="Times New Roman"/>
                <a:cs typeface="Times New Roman"/>
              </a:rPr>
              <a:t>Charge</a:t>
            </a:r>
            <a:endParaRPr sz="882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287" name="object 287"/>
          <p:cNvSpPr/>
          <p:nvPr/>
        </p:nvSpPr>
        <p:spPr>
          <a:xfrm>
            <a:off x="3636533" y="1978063"/>
            <a:ext cx="368674" cy="76760"/>
          </a:xfrm>
          <a:custGeom>
            <a:avLst/>
            <a:gdLst/>
            <a:ahLst/>
            <a:cxnLst/>
            <a:rect l="l" t="t" r="r" b="b"/>
            <a:pathLst>
              <a:path w="417830" h="86994">
                <a:moveTo>
                  <a:pt x="332232" y="86868"/>
                </a:moveTo>
                <a:lnTo>
                  <a:pt x="332232" y="0"/>
                </a:lnTo>
                <a:lnTo>
                  <a:pt x="390144" y="28956"/>
                </a:lnTo>
                <a:lnTo>
                  <a:pt x="345948" y="28956"/>
                </a:lnTo>
                <a:lnTo>
                  <a:pt x="345948" y="57912"/>
                </a:lnTo>
                <a:lnTo>
                  <a:pt x="388147" y="57912"/>
                </a:lnTo>
                <a:lnTo>
                  <a:pt x="332232" y="86868"/>
                </a:lnTo>
                <a:close/>
              </a:path>
              <a:path w="417830" h="86994">
                <a:moveTo>
                  <a:pt x="332232" y="57912"/>
                </a:moveTo>
                <a:lnTo>
                  <a:pt x="0" y="57912"/>
                </a:lnTo>
                <a:lnTo>
                  <a:pt x="0" y="28956"/>
                </a:lnTo>
                <a:lnTo>
                  <a:pt x="332232" y="28956"/>
                </a:lnTo>
                <a:lnTo>
                  <a:pt x="332232" y="57912"/>
                </a:lnTo>
                <a:close/>
              </a:path>
              <a:path w="417830" h="86994">
                <a:moveTo>
                  <a:pt x="388147" y="57912"/>
                </a:moveTo>
                <a:lnTo>
                  <a:pt x="345948" y="57912"/>
                </a:lnTo>
                <a:lnTo>
                  <a:pt x="345948" y="28956"/>
                </a:lnTo>
                <a:lnTo>
                  <a:pt x="390144" y="28956"/>
                </a:lnTo>
                <a:lnTo>
                  <a:pt x="417576" y="42672"/>
                </a:lnTo>
                <a:lnTo>
                  <a:pt x="388147" y="57912"/>
                </a:lnTo>
                <a:close/>
              </a:path>
            </a:pathLst>
          </a:custGeom>
          <a:solidFill>
            <a:srgbClr val="0000FF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8" name="object 288"/>
          <p:cNvSpPr/>
          <p:nvPr/>
        </p:nvSpPr>
        <p:spPr>
          <a:xfrm>
            <a:off x="5801510" y="3655036"/>
            <a:ext cx="789454" cy="342900"/>
          </a:xfrm>
          <a:custGeom>
            <a:avLst/>
            <a:gdLst/>
            <a:ahLst/>
            <a:cxnLst/>
            <a:rect l="l" t="t" r="r" b="b"/>
            <a:pathLst>
              <a:path w="894714" h="388620">
                <a:moveTo>
                  <a:pt x="779780" y="350377"/>
                </a:moveTo>
                <a:lnTo>
                  <a:pt x="760476" y="350377"/>
                </a:lnTo>
                <a:lnTo>
                  <a:pt x="632460" y="341233"/>
                </a:lnTo>
                <a:lnTo>
                  <a:pt x="512064" y="327517"/>
                </a:lnTo>
                <a:lnTo>
                  <a:pt x="473964" y="321421"/>
                </a:lnTo>
                <a:lnTo>
                  <a:pt x="437388" y="313801"/>
                </a:lnTo>
                <a:lnTo>
                  <a:pt x="402336" y="307705"/>
                </a:lnTo>
                <a:lnTo>
                  <a:pt x="333756" y="292465"/>
                </a:lnTo>
                <a:lnTo>
                  <a:pt x="301752" y="283321"/>
                </a:lnTo>
                <a:lnTo>
                  <a:pt x="269748" y="275701"/>
                </a:lnTo>
                <a:lnTo>
                  <a:pt x="240792" y="266557"/>
                </a:lnTo>
                <a:lnTo>
                  <a:pt x="185928" y="245221"/>
                </a:lnTo>
                <a:lnTo>
                  <a:pt x="161544" y="236077"/>
                </a:lnTo>
                <a:lnTo>
                  <a:pt x="138684" y="223885"/>
                </a:lnTo>
                <a:lnTo>
                  <a:pt x="115824" y="213217"/>
                </a:lnTo>
                <a:lnTo>
                  <a:pt x="96012" y="201025"/>
                </a:lnTo>
                <a:lnTo>
                  <a:pt x="60960" y="176641"/>
                </a:lnTo>
                <a:lnTo>
                  <a:pt x="21336" y="135493"/>
                </a:lnTo>
                <a:lnTo>
                  <a:pt x="6096" y="105013"/>
                </a:lnTo>
                <a:lnTo>
                  <a:pt x="6096" y="103489"/>
                </a:lnTo>
                <a:lnTo>
                  <a:pt x="4572" y="101965"/>
                </a:lnTo>
                <a:lnTo>
                  <a:pt x="1524" y="88249"/>
                </a:lnTo>
                <a:lnTo>
                  <a:pt x="0" y="80629"/>
                </a:lnTo>
                <a:lnTo>
                  <a:pt x="0" y="71485"/>
                </a:lnTo>
                <a:lnTo>
                  <a:pt x="1524" y="56245"/>
                </a:lnTo>
                <a:lnTo>
                  <a:pt x="1524" y="53197"/>
                </a:lnTo>
                <a:lnTo>
                  <a:pt x="4572" y="39481"/>
                </a:lnTo>
                <a:lnTo>
                  <a:pt x="6096" y="37957"/>
                </a:lnTo>
                <a:lnTo>
                  <a:pt x="10668" y="24241"/>
                </a:lnTo>
                <a:lnTo>
                  <a:pt x="19812" y="9001"/>
                </a:lnTo>
                <a:lnTo>
                  <a:pt x="24503" y="3333"/>
                </a:lnTo>
                <a:lnTo>
                  <a:pt x="31051" y="238"/>
                </a:lnTo>
                <a:lnTo>
                  <a:pt x="38457" y="0"/>
                </a:lnTo>
                <a:lnTo>
                  <a:pt x="45720" y="2905"/>
                </a:lnTo>
                <a:lnTo>
                  <a:pt x="51411" y="7596"/>
                </a:lnTo>
                <a:lnTo>
                  <a:pt x="54673" y="14144"/>
                </a:lnTo>
                <a:lnTo>
                  <a:pt x="55364" y="21550"/>
                </a:lnTo>
                <a:lnTo>
                  <a:pt x="53340" y="28813"/>
                </a:lnTo>
                <a:lnTo>
                  <a:pt x="47244" y="39481"/>
                </a:lnTo>
                <a:lnTo>
                  <a:pt x="41148" y="51673"/>
                </a:lnTo>
                <a:lnTo>
                  <a:pt x="42100" y="51673"/>
                </a:lnTo>
                <a:lnTo>
                  <a:pt x="38100" y="62341"/>
                </a:lnTo>
                <a:lnTo>
                  <a:pt x="39188" y="62341"/>
                </a:lnTo>
                <a:lnTo>
                  <a:pt x="38100" y="69961"/>
                </a:lnTo>
                <a:lnTo>
                  <a:pt x="38100" y="74533"/>
                </a:lnTo>
                <a:lnTo>
                  <a:pt x="39624" y="79105"/>
                </a:lnTo>
                <a:lnTo>
                  <a:pt x="41994" y="89773"/>
                </a:lnTo>
                <a:lnTo>
                  <a:pt x="41148" y="89773"/>
                </a:lnTo>
                <a:lnTo>
                  <a:pt x="45720" y="100441"/>
                </a:lnTo>
                <a:lnTo>
                  <a:pt x="51816" y="112633"/>
                </a:lnTo>
                <a:lnTo>
                  <a:pt x="60960" y="123301"/>
                </a:lnTo>
                <a:lnTo>
                  <a:pt x="83820" y="146161"/>
                </a:lnTo>
                <a:lnTo>
                  <a:pt x="99060" y="156829"/>
                </a:lnTo>
                <a:lnTo>
                  <a:pt x="115824" y="169021"/>
                </a:lnTo>
                <a:lnTo>
                  <a:pt x="134112" y="179689"/>
                </a:lnTo>
                <a:lnTo>
                  <a:pt x="153924" y="190357"/>
                </a:lnTo>
                <a:lnTo>
                  <a:pt x="176784" y="201025"/>
                </a:lnTo>
                <a:lnTo>
                  <a:pt x="199644" y="210169"/>
                </a:lnTo>
                <a:lnTo>
                  <a:pt x="225552" y="220837"/>
                </a:lnTo>
                <a:lnTo>
                  <a:pt x="280416" y="239125"/>
                </a:lnTo>
                <a:lnTo>
                  <a:pt x="310896" y="246745"/>
                </a:lnTo>
                <a:lnTo>
                  <a:pt x="342900" y="255889"/>
                </a:lnTo>
                <a:lnTo>
                  <a:pt x="374904" y="263509"/>
                </a:lnTo>
                <a:lnTo>
                  <a:pt x="408432" y="269605"/>
                </a:lnTo>
                <a:lnTo>
                  <a:pt x="443484" y="277225"/>
                </a:lnTo>
                <a:lnTo>
                  <a:pt x="518160" y="289417"/>
                </a:lnTo>
                <a:lnTo>
                  <a:pt x="635508" y="303133"/>
                </a:lnTo>
                <a:lnTo>
                  <a:pt x="762000" y="312277"/>
                </a:lnTo>
                <a:lnTo>
                  <a:pt x="780796" y="312277"/>
                </a:lnTo>
                <a:lnTo>
                  <a:pt x="779780" y="350377"/>
                </a:lnTo>
                <a:close/>
              </a:path>
              <a:path w="894714" h="388620">
                <a:moveTo>
                  <a:pt x="42100" y="51673"/>
                </a:moveTo>
                <a:lnTo>
                  <a:pt x="41148" y="51673"/>
                </a:lnTo>
                <a:lnTo>
                  <a:pt x="42672" y="50149"/>
                </a:lnTo>
                <a:lnTo>
                  <a:pt x="42100" y="51673"/>
                </a:lnTo>
                <a:close/>
              </a:path>
              <a:path w="894714" h="388620">
                <a:moveTo>
                  <a:pt x="39188" y="62341"/>
                </a:moveTo>
                <a:lnTo>
                  <a:pt x="38100" y="62341"/>
                </a:lnTo>
                <a:lnTo>
                  <a:pt x="39624" y="59293"/>
                </a:lnTo>
                <a:lnTo>
                  <a:pt x="39188" y="62341"/>
                </a:lnTo>
                <a:close/>
              </a:path>
              <a:path w="894714" h="388620">
                <a:moveTo>
                  <a:pt x="42672" y="92821"/>
                </a:moveTo>
                <a:lnTo>
                  <a:pt x="41148" y="89773"/>
                </a:lnTo>
                <a:lnTo>
                  <a:pt x="41994" y="89773"/>
                </a:lnTo>
                <a:lnTo>
                  <a:pt x="42672" y="92821"/>
                </a:lnTo>
                <a:close/>
              </a:path>
              <a:path w="894714" h="388620">
                <a:moveTo>
                  <a:pt x="778764" y="388477"/>
                </a:moveTo>
                <a:lnTo>
                  <a:pt x="781812" y="274177"/>
                </a:lnTo>
                <a:lnTo>
                  <a:pt x="854104" y="312277"/>
                </a:lnTo>
                <a:lnTo>
                  <a:pt x="800100" y="312277"/>
                </a:lnTo>
                <a:lnTo>
                  <a:pt x="807458" y="314515"/>
                </a:lnTo>
                <a:lnTo>
                  <a:pt x="813244" y="318754"/>
                </a:lnTo>
                <a:lnTo>
                  <a:pt x="817030" y="324707"/>
                </a:lnTo>
                <a:lnTo>
                  <a:pt x="818388" y="332089"/>
                </a:lnTo>
                <a:lnTo>
                  <a:pt x="816792" y="339661"/>
                </a:lnTo>
                <a:lnTo>
                  <a:pt x="812482" y="345805"/>
                </a:lnTo>
                <a:lnTo>
                  <a:pt x="806172" y="349662"/>
                </a:lnTo>
                <a:lnTo>
                  <a:pt x="798576" y="350377"/>
                </a:lnTo>
                <a:lnTo>
                  <a:pt x="859197" y="350377"/>
                </a:lnTo>
                <a:lnTo>
                  <a:pt x="778764" y="388477"/>
                </a:lnTo>
                <a:close/>
              </a:path>
              <a:path w="894714" h="388620">
                <a:moveTo>
                  <a:pt x="859197" y="350377"/>
                </a:moveTo>
                <a:lnTo>
                  <a:pt x="798576" y="350377"/>
                </a:lnTo>
                <a:lnTo>
                  <a:pt x="806172" y="349662"/>
                </a:lnTo>
                <a:lnTo>
                  <a:pt x="812482" y="345805"/>
                </a:lnTo>
                <a:lnTo>
                  <a:pt x="816792" y="339661"/>
                </a:lnTo>
                <a:lnTo>
                  <a:pt x="818388" y="332089"/>
                </a:lnTo>
                <a:lnTo>
                  <a:pt x="817030" y="324707"/>
                </a:lnTo>
                <a:lnTo>
                  <a:pt x="813244" y="318754"/>
                </a:lnTo>
                <a:lnTo>
                  <a:pt x="807458" y="314515"/>
                </a:lnTo>
                <a:lnTo>
                  <a:pt x="800100" y="312277"/>
                </a:lnTo>
                <a:lnTo>
                  <a:pt x="854104" y="312277"/>
                </a:lnTo>
                <a:lnTo>
                  <a:pt x="894588" y="333613"/>
                </a:lnTo>
                <a:lnTo>
                  <a:pt x="859197" y="350377"/>
                </a:lnTo>
                <a:close/>
              </a:path>
            </a:pathLst>
          </a:custGeom>
          <a:solidFill>
            <a:srgbClr val="FF99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9" name="object 289"/>
          <p:cNvSpPr txBox="1"/>
          <p:nvPr/>
        </p:nvSpPr>
        <p:spPr>
          <a:xfrm>
            <a:off x="7317864" y="1981619"/>
            <a:ext cx="179294" cy="255678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2382" spc="258" baseline="-16975" dirty="0">
                <a:solidFill>
                  <a:srgbClr val="F7C68E"/>
                </a:solidFill>
                <a:latin typeface="Times New Roman"/>
                <a:cs typeface="Times New Roman"/>
              </a:rPr>
              <a:t>e</a:t>
            </a:r>
            <a:r>
              <a:rPr sz="1059" dirty="0">
                <a:solidFill>
                  <a:srgbClr val="F7C68E"/>
                </a:solidFill>
                <a:latin typeface="Times New Roman"/>
                <a:cs typeface="Times New Roman"/>
              </a:rPr>
              <a:t>-</a:t>
            </a:r>
            <a:endParaRPr sz="1059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290" name="object 290"/>
          <p:cNvSpPr/>
          <p:nvPr/>
        </p:nvSpPr>
        <p:spPr>
          <a:xfrm>
            <a:off x="4623547" y="4499385"/>
            <a:ext cx="586628" cy="215153"/>
          </a:xfrm>
          <a:custGeom>
            <a:avLst/>
            <a:gdLst/>
            <a:ahLst/>
            <a:cxnLst/>
            <a:rect l="l" t="t" r="r" b="b"/>
            <a:pathLst>
              <a:path w="664845" h="243839">
                <a:moveTo>
                  <a:pt x="85869" y="215880"/>
                </a:moveTo>
                <a:lnTo>
                  <a:pt x="84834" y="186906"/>
                </a:lnTo>
                <a:lnTo>
                  <a:pt x="111252" y="185928"/>
                </a:lnTo>
                <a:lnTo>
                  <a:pt x="164592" y="181356"/>
                </a:lnTo>
                <a:lnTo>
                  <a:pt x="217932" y="175260"/>
                </a:lnTo>
                <a:lnTo>
                  <a:pt x="316992" y="160020"/>
                </a:lnTo>
                <a:lnTo>
                  <a:pt x="339852" y="153924"/>
                </a:lnTo>
                <a:lnTo>
                  <a:pt x="362712" y="149352"/>
                </a:lnTo>
                <a:lnTo>
                  <a:pt x="385572" y="143256"/>
                </a:lnTo>
                <a:lnTo>
                  <a:pt x="406908" y="137160"/>
                </a:lnTo>
                <a:lnTo>
                  <a:pt x="426720" y="131064"/>
                </a:lnTo>
                <a:lnTo>
                  <a:pt x="448056" y="124968"/>
                </a:lnTo>
                <a:lnTo>
                  <a:pt x="466344" y="117348"/>
                </a:lnTo>
                <a:lnTo>
                  <a:pt x="484632" y="111252"/>
                </a:lnTo>
                <a:lnTo>
                  <a:pt x="502920" y="103632"/>
                </a:lnTo>
                <a:lnTo>
                  <a:pt x="519684" y="96012"/>
                </a:lnTo>
                <a:lnTo>
                  <a:pt x="536448" y="86868"/>
                </a:lnTo>
                <a:lnTo>
                  <a:pt x="551688" y="79248"/>
                </a:lnTo>
                <a:lnTo>
                  <a:pt x="565404" y="71628"/>
                </a:lnTo>
                <a:lnTo>
                  <a:pt x="579120" y="62484"/>
                </a:lnTo>
                <a:lnTo>
                  <a:pt x="591312" y="53340"/>
                </a:lnTo>
                <a:lnTo>
                  <a:pt x="601980" y="45720"/>
                </a:lnTo>
                <a:lnTo>
                  <a:pt x="612648" y="36576"/>
                </a:lnTo>
                <a:lnTo>
                  <a:pt x="621792" y="27432"/>
                </a:lnTo>
                <a:lnTo>
                  <a:pt x="629412" y="18288"/>
                </a:lnTo>
                <a:lnTo>
                  <a:pt x="637032" y="7620"/>
                </a:lnTo>
                <a:lnTo>
                  <a:pt x="641604" y="1524"/>
                </a:lnTo>
                <a:lnTo>
                  <a:pt x="650748" y="0"/>
                </a:lnTo>
                <a:lnTo>
                  <a:pt x="662940" y="9144"/>
                </a:lnTo>
                <a:lnTo>
                  <a:pt x="664464" y="18288"/>
                </a:lnTo>
                <a:lnTo>
                  <a:pt x="659892" y="24384"/>
                </a:lnTo>
                <a:lnTo>
                  <a:pt x="652272" y="35052"/>
                </a:lnTo>
                <a:lnTo>
                  <a:pt x="620268" y="67056"/>
                </a:lnTo>
                <a:lnTo>
                  <a:pt x="550164" y="112776"/>
                </a:lnTo>
                <a:lnTo>
                  <a:pt x="531876" y="120396"/>
                </a:lnTo>
                <a:lnTo>
                  <a:pt x="515112" y="129540"/>
                </a:lnTo>
                <a:lnTo>
                  <a:pt x="496824" y="137160"/>
                </a:lnTo>
                <a:lnTo>
                  <a:pt x="477012" y="144780"/>
                </a:lnTo>
                <a:lnTo>
                  <a:pt x="457200" y="150876"/>
                </a:lnTo>
                <a:lnTo>
                  <a:pt x="435864" y="158496"/>
                </a:lnTo>
                <a:lnTo>
                  <a:pt x="393192" y="170688"/>
                </a:lnTo>
                <a:lnTo>
                  <a:pt x="345948" y="182880"/>
                </a:lnTo>
                <a:lnTo>
                  <a:pt x="272796" y="196596"/>
                </a:lnTo>
                <a:lnTo>
                  <a:pt x="220980" y="204216"/>
                </a:lnTo>
                <a:lnTo>
                  <a:pt x="167640" y="210312"/>
                </a:lnTo>
                <a:lnTo>
                  <a:pt x="112776" y="214884"/>
                </a:lnTo>
                <a:lnTo>
                  <a:pt x="85869" y="215880"/>
                </a:lnTo>
                <a:close/>
              </a:path>
              <a:path w="664845" h="243839">
                <a:moveTo>
                  <a:pt x="86868" y="243840"/>
                </a:moveTo>
                <a:lnTo>
                  <a:pt x="0" y="204216"/>
                </a:lnTo>
                <a:lnTo>
                  <a:pt x="83820" y="158496"/>
                </a:lnTo>
                <a:lnTo>
                  <a:pt x="84834" y="186906"/>
                </a:lnTo>
                <a:lnTo>
                  <a:pt x="70104" y="187452"/>
                </a:lnTo>
                <a:lnTo>
                  <a:pt x="62484" y="187452"/>
                </a:lnTo>
                <a:lnTo>
                  <a:pt x="56388" y="195072"/>
                </a:lnTo>
                <a:lnTo>
                  <a:pt x="56388" y="210312"/>
                </a:lnTo>
                <a:lnTo>
                  <a:pt x="64008" y="216408"/>
                </a:lnTo>
                <a:lnTo>
                  <a:pt x="85888" y="216408"/>
                </a:lnTo>
                <a:lnTo>
                  <a:pt x="86868" y="243840"/>
                </a:lnTo>
                <a:close/>
              </a:path>
              <a:path w="664845" h="243839">
                <a:moveTo>
                  <a:pt x="71628" y="216408"/>
                </a:moveTo>
                <a:lnTo>
                  <a:pt x="64008" y="216408"/>
                </a:lnTo>
                <a:lnTo>
                  <a:pt x="56388" y="210312"/>
                </a:lnTo>
                <a:lnTo>
                  <a:pt x="56388" y="195072"/>
                </a:lnTo>
                <a:lnTo>
                  <a:pt x="62484" y="187452"/>
                </a:lnTo>
                <a:lnTo>
                  <a:pt x="70104" y="187452"/>
                </a:lnTo>
                <a:lnTo>
                  <a:pt x="84834" y="186906"/>
                </a:lnTo>
                <a:lnTo>
                  <a:pt x="85869" y="215880"/>
                </a:lnTo>
                <a:lnTo>
                  <a:pt x="71628" y="216408"/>
                </a:lnTo>
                <a:close/>
              </a:path>
              <a:path w="664845" h="243839">
                <a:moveTo>
                  <a:pt x="85888" y="216408"/>
                </a:moveTo>
                <a:lnTo>
                  <a:pt x="71628" y="216408"/>
                </a:lnTo>
                <a:lnTo>
                  <a:pt x="85869" y="215880"/>
                </a:lnTo>
                <a:lnTo>
                  <a:pt x="85888" y="216408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91" name="object 291"/>
          <p:cNvSpPr/>
          <p:nvPr/>
        </p:nvSpPr>
        <p:spPr>
          <a:xfrm>
            <a:off x="3440206" y="2298774"/>
            <a:ext cx="1565461" cy="0"/>
          </a:xfrm>
          <a:custGeom>
            <a:avLst/>
            <a:gdLst/>
            <a:ahLst/>
            <a:cxnLst/>
            <a:rect l="l" t="t" r="r" b="b"/>
            <a:pathLst>
              <a:path w="1774189">
                <a:moveTo>
                  <a:pt x="0" y="0"/>
                </a:moveTo>
                <a:lnTo>
                  <a:pt x="1773936" y="0"/>
                </a:lnTo>
              </a:path>
            </a:pathLst>
          </a:custGeom>
          <a:ln w="1371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92" name="object 292"/>
          <p:cNvSpPr/>
          <p:nvPr/>
        </p:nvSpPr>
        <p:spPr>
          <a:xfrm>
            <a:off x="5866056" y="2309532"/>
            <a:ext cx="2186828" cy="0"/>
          </a:xfrm>
          <a:custGeom>
            <a:avLst/>
            <a:gdLst/>
            <a:ahLst/>
            <a:cxnLst/>
            <a:rect l="l" t="t" r="r" b="b"/>
            <a:pathLst>
              <a:path w="2478404">
                <a:moveTo>
                  <a:pt x="0" y="0"/>
                </a:moveTo>
                <a:lnTo>
                  <a:pt x="2478024" y="0"/>
                </a:lnTo>
              </a:path>
            </a:pathLst>
          </a:custGeom>
          <a:ln w="1371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93" name="object 293"/>
          <p:cNvSpPr/>
          <p:nvPr/>
        </p:nvSpPr>
        <p:spPr>
          <a:xfrm>
            <a:off x="4069528" y="2263140"/>
            <a:ext cx="368674" cy="75640"/>
          </a:xfrm>
          <a:custGeom>
            <a:avLst/>
            <a:gdLst/>
            <a:ahLst/>
            <a:cxnLst/>
            <a:rect l="l" t="t" r="r" b="b"/>
            <a:pathLst>
              <a:path w="417830" h="85725">
                <a:moveTo>
                  <a:pt x="85344" y="85344"/>
                </a:moveTo>
                <a:lnTo>
                  <a:pt x="0" y="42672"/>
                </a:lnTo>
                <a:lnTo>
                  <a:pt x="85344" y="0"/>
                </a:lnTo>
                <a:lnTo>
                  <a:pt x="85344" y="28956"/>
                </a:lnTo>
                <a:lnTo>
                  <a:pt x="71628" y="28956"/>
                </a:lnTo>
                <a:lnTo>
                  <a:pt x="71628" y="56388"/>
                </a:lnTo>
                <a:lnTo>
                  <a:pt x="85344" y="56388"/>
                </a:lnTo>
                <a:lnTo>
                  <a:pt x="85344" y="85344"/>
                </a:lnTo>
                <a:close/>
              </a:path>
              <a:path w="417830" h="85725">
                <a:moveTo>
                  <a:pt x="85344" y="56388"/>
                </a:moveTo>
                <a:lnTo>
                  <a:pt x="71628" y="56388"/>
                </a:lnTo>
                <a:lnTo>
                  <a:pt x="71628" y="28956"/>
                </a:lnTo>
                <a:lnTo>
                  <a:pt x="85344" y="28956"/>
                </a:lnTo>
                <a:lnTo>
                  <a:pt x="85344" y="56388"/>
                </a:lnTo>
                <a:close/>
              </a:path>
              <a:path w="417830" h="85725">
                <a:moveTo>
                  <a:pt x="417576" y="56388"/>
                </a:moveTo>
                <a:lnTo>
                  <a:pt x="85344" y="56388"/>
                </a:lnTo>
                <a:lnTo>
                  <a:pt x="85344" y="28956"/>
                </a:lnTo>
                <a:lnTo>
                  <a:pt x="417576" y="28956"/>
                </a:lnTo>
                <a:lnTo>
                  <a:pt x="417576" y="56388"/>
                </a:lnTo>
                <a:close/>
              </a:path>
            </a:pathLst>
          </a:custGeom>
          <a:solidFill>
            <a:srgbClr val="0000FF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94" name="object 294"/>
          <p:cNvSpPr/>
          <p:nvPr/>
        </p:nvSpPr>
        <p:spPr>
          <a:xfrm>
            <a:off x="5005443" y="2138082"/>
            <a:ext cx="860612" cy="242047"/>
          </a:xfrm>
          <a:custGeom>
            <a:avLst/>
            <a:gdLst/>
            <a:ahLst/>
            <a:cxnLst/>
            <a:rect l="l" t="t" r="r" b="b"/>
            <a:pathLst>
              <a:path w="975360" h="274319">
                <a:moveTo>
                  <a:pt x="0" y="0"/>
                </a:moveTo>
                <a:lnTo>
                  <a:pt x="975360" y="0"/>
                </a:lnTo>
                <a:lnTo>
                  <a:pt x="975360" y="274320"/>
                </a:lnTo>
                <a:lnTo>
                  <a:pt x="0" y="27432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95" name="object 295"/>
          <p:cNvSpPr/>
          <p:nvPr/>
        </p:nvSpPr>
        <p:spPr>
          <a:xfrm>
            <a:off x="4998719" y="2132704"/>
            <a:ext cx="874059" cy="253253"/>
          </a:xfrm>
          <a:custGeom>
            <a:avLst/>
            <a:gdLst/>
            <a:ahLst/>
            <a:cxnLst/>
            <a:rect l="l" t="t" r="r" b="b"/>
            <a:pathLst>
              <a:path w="990600" h="287019">
                <a:moveTo>
                  <a:pt x="990600" y="286512"/>
                </a:moveTo>
                <a:lnTo>
                  <a:pt x="0" y="286512"/>
                </a:lnTo>
                <a:lnTo>
                  <a:pt x="0" y="0"/>
                </a:lnTo>
                <a:lnTo>
                  <a:pt x="990600" y="0"/>
                </a:lnTo>
                <a:lnTo>
                  <a:pt x="990600" y="6096"/>
                </a:lnTo>
                <a:lnTo>
                  <a:pt x="13716" y="6096"/>
                </a:lnTo>
                <a:lnTo>
                  <a:pt x="7620" y="12192"/>
                </a:lnTo>
                <a:lnTo>
                  <a:pt x="13716" y="12192"/>
                </a:lnTo>
                <a:lnTo>
                  <a:pt x="13716" y="274320"/>
                </a:lnTo>
                <a:lnTo>
                  <a:pt x="7620" y="274320"/>
                </a:lnTo>
                <a:lnTo>
                  <a:pt x="13716" y="280416"/>
                </a:lnTo>
                <a:lnTo>
                  <a:pt x="990600" y="280416"/>
                </a:lnTo>
                <a:lnTo>
                  <a:pt x="990600" y="286512"/>
                </a:lnTo>
                <a:close/>
              </a:path>
              <a:path w="990600" h="287019">
                <a:moveTo>
                  <a:pt x="13716" y="12192"/>
                </a:moveTo>
                <a:lnTo>
                  <a:pt x="7620" y="12192"/>
                </a:lnTo>
                <a:lnTo>
                  <a:pt x="13716" y="6096"/>
                </a:lnTo>
                <a:lnTo>
                  <a:pt x="13716" y="12192"/>
                </a:lnTo>
                <a:close/>
              </a:path>
              <a:path w="990600" h="287019">
                <a:moveTo>
                  <a:pt x="976884" y="12192"/>
                </a:moveTo>
                <a:lnTo>
                  <a:pt x="13716" y="12192"/>
                </a:lnTo>
                <a:lnTo>
                  <a:pt x="13716" y="6096"/>
                </a:lnTo>
                <a:lnTo>
                  <a:pt x="976884" y="6096"/>
                </a:lnTo>
                <a:lnTo>
                  <a:pt x="976884" y="12192"/>
                </a:lnTo>
                <a:close/>
              </a:path>
              <a:path w="990600" h="287019">
                <a:moveTo>
                  <a:pt x="976884" y="280416"/>
                </a:moveTo>
                <a:lnTo>
                  <a:pt x="976884" y="6096"/>
                </a:lnTo>
                <a:lnTo>
                  <a:pt x="982980" y="12192"/>
                </a:lnTo>
                <a:lnTo>
                  <a:pt x="990600" y="12192"/>
                </a:lnTo>
                <a:lnTo>
                  <a:pt x="990600" y="274320"/>
                </a:lnTo>
                <a:lnTo>
                  <a:pt x="982980" y="274320"/>
                </a:lnTo>
                <a:lnTo>
                  <a:pt x="976884" y="280416"/>
                </a:lnTo>
                <a:close/>
              </a:path>
              <a:path w="990600" h="287019">
                <a:moveTo>
                  <a:pt x="990600" y="12192"/>
                </a:moveTo>
                <a:lnTo>
                  <a:pt x="982980" y="12192"/>
                </a:lnTo>
                <a:lnTo>
                  <a:pt x="976884" y="6096"/>
                </a:lnTo>
                <a:lnTo>
                  <a:pt x="990600" y="6096"/>
                </a:lnTo>
                <a:lnTo>
                  <a:pt x="990600" y="12192"/>
                </a:lnTo>
                <a:close/>
              </a:path>
              <a:path w="990600" h="287019">
                <a:moveTo>
                  <a:pt x="13716" y="280416"/>
                </a:moveTo>
                <a:lnTo>
                  <a:pt x="7620" y="274320"/>
                </a:lnTo>
                <a:lnTo>
                  <a:pt x="13716" y="274320"/>
                </a:lnTo>
                <a:lnTo>
                  <a:pt x="13716" y="280416"/>
                </a:lnTo>
                <a:close/>
              </a:path>
              <a:path w="990600" h="287019">
                <a:moveTo>
                  <a:pt x="976884" y="280416"/>
                </a:moveTo>
                <a:lnTo>
                  <a:pt x="13716" y="280416"/>
                </a:lnTo>
                <a:lnTo>
                  <a:pt x="13716" y="274320"/>
                </a:lnTo>
                <a:lnTo>
                  <a:pt x="976884" y="274320"/>
                </a:lnTo>
                <a:lnTo>
                  <a:pt x="976884" y="280416"/>
                </a:lnTo>
                <a:close/>
              </a:path>
              <a:path w="990600" h="287019">
                <a:moveTo>
                  <a:pt x="990600" y="280416"/>
                </a:moveTo>
                <a:lnTo>
                  <a:pt x="976884" y="280416"/>
                </a:lnTo>
                <a:lnTo>
                  <a:pt x="982980" y="274320"/>
                </a:lnTo>
                <a:lnTo>
                  <a:pt x="990600" y="274320"/>
                </a:lnTo>
                <a:lnTo>
                  <a:pt x="990600" y="28041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96" name="object 296"/>
          <p:cNvSpPr txBox="1"/>
          <p:nvPr/>
        </p:nvSpPr>
        <p:spPr>
          <a:xfrm>
            <a:off x="5031848" y="2184692"/>
            <a:ext cx="712694" cy="146493"/>
          </a:xfrm>
          <a:prstGeom prst="rect">
            <a:avLst/>
          </a:prstGeom>
        </p:spPr>
        <p:txBody>
          <a:bodyPr vert="horz" wrap="square" lIns="0" tIns="10646" rIns="0" bIns="0" rtlCol="0">
            <a:spAutoFit/>
          </a:bodyPr>
          <a:lstStyle/>
          <a:p>
            <a:pPr marL="11206" defTabSz="806867">
              <a:spcBef>
                <a:spcPts val="84"/>
              </a:spcBef>
            </a:pPr>
            <a:r>
              <a:rPr sz="882" spc="88" dirty="0">
                <a:solidFill>
                  <a:prstClr val="black"/>
                </a:solidFill>
                <a:latin typeface="Times New Roman"/>
                <a:cs typeface="Times New Roman"/>
              </a:rPr>
              <a:t>en</a:t>
            </a:r>
            <a:r>
              <a:rPr sz="882" spc="-9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882" spc="53" dirty="0">
                <a:solidFill>
                  <a:prstClr val="black"/>
                </a:solidFill>
                <a:latin typeface="Times New Roman"/>
                <a:cs typeface="Times New Roman"/>
              </a:rPr>
              <a:t>utilisation</a:t>
            </a:r>
            <a:endParaRPr sz="882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297" name="object 297"/>
          <p:cNvSpPr txBox="1"/>
          <p:nvPr/>
        </p:nvSpPr>
        <p:spPr>
          <a:xfrm>
            <a:off x="5983941" y="2289596"/>
            <a:ext cx="801221" cy="187273"/>
          </a:xfrm>
          <a:prstGeom prst="rect">
            <a:avLst/>
          </a:prstGeom>
        </p:spPr>
        <p:txBody>
          <a:bodyPr vert="horz" wrap="square" lIns="0" tIns="10646" rIns="0" bIns="0" rtlCol="0">
            <a:spAutoFit/>
          </a:bodyPr>
          <a:lstStyle/>
          <a:p>
            <a:pPr marL="11206" defTabSz="806867">
              <a:spcBef>
                <a:spcPts val="84"/>
              </a:spcBef>
            </a:pPr>
            <a:r>
              <a:rPr sz="1147" spc="-31" dirty="0">
                <a:solidFill>
                  <a:srgbClr val="00CC99"/>
                </a:solidFill>
                <a:latin typeface="Times New Roman"/>
                <a:cs typeface="Times New Roman"/>
              </a:rPr>
              <a:t>D</a:t>
            </a:r>
            <a:r>
              <a:rPr sz="1147" spc="-110" dirty="0">
                <a:solidFill>
                  <a:srgbClr val="00CC99"/>
                </a:solidFill>
                <a:latin typeface="Times New Roman"/>
                <a:cs typeface="Times New Roman"/>
              </a:rPr>
              <a:t>E</a:t>
            </a:r>
            <a:r>
              <a:rPr sz="1147" spc="124" dirty="0">
                <a:solidFill>
                  <a:srgbClr val="00CC99"/>
                </a:solidFill>
                <a:latin typeface="Times New Roman"/>
                <a:cs typeface="Times New Roman"/>
              </a:rPr>
              <a:t>C</a:t>
            </a:r>
            <a:r>
              <a:rPr sz="1147" spc="-53" dirty="0">
                <a:solidFill>
                  <a:srgbClr val="00CC99"/>
                </a:solidFill>
                <a:latin typeface="Times New Roman"/>
                <a:cs typeface="Times New Roman"/>
              </a:rPr>
              <a:t>H</a:t>
            </a:r>
            <a:r>
              <a:rPr sz="1147" spc="13" dirty="0">
                <a:solidFill>
                  <a:srgbClr val="00CC99"/>
                </a:solidFill>
                <a:latin typeface="Times New Roman"/>
                <a:cs typeface="Times New Roman"/>
              </a:rPr>
              <a:t>A</a:t>
            </a:r>
            <a:r>
              <a:rPr sz="1147" spc="-106" dirty="0">
                <a:solidFill>
                  <a:srgbClr val="00CC99"/>
                </a:solidFill>
                <a:latin typeface="Times New Roman"/>
                <a:cs typeface="Times New Roman"/>
              </a:rPr>
              <a:t>R</a:t>
            </a:r>
            <a:r>
              <a:rPr sz="1147" spc="128" dirty="0">
                <a:solidFill>
                  <a:srgbClr val="00CC99"/>
                </a:solidFill>
                <a:latin typeface="Times New Roman"/>
                <a:cs typeface="Times New Roman"/>
              </a:rPr>
              <a:t>G</a:t>
            </a:r>
            <a:r>
              <a:rPr sz="1147" spc="-110" dirty="0">
                <a:solidFill>
                  <a:srgbClr val="00CC99"/>
                </a:solidFill>
                <a:latin typeface="Times New Roman"/>
                <a:cs typeface="Times New Roman"/>
              </a:rPr>
              <a:t>E</a:t>
            </a:r>
            <a:endParaRPr sz="1147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298" name="object 298"/>
          <p:cNvSpPr/>
          <p:nvPr/>
        </p:nvSpPr>
        <p:spPr>
          <a:xfrm>
            <a:off x="7191934" y="2269863"/>
            <a:ext cx="368674" cy="76760"/>
          </a:xfrm>
          <a:custGeom>
            <a:avLst/>
            <a:gdLst/>
            <a:ahLst/>
            <a:cxnLst/>
            <a:rect l="l" t="t" r="r" b="b"/>
            <a:pathLst>
              <a:path w="417829" h="86994">
                <a:moveTo>
                  <a:pt x="85344" y="86868"/>
                </a:moveTo>
                <a:lnTo>
                  <a:pt x="0" y="42672"/>
                </a:lnTo>
                <a:lnTo>
                  <a:pt x="85344" y="0"/>
                </a:lnTo>
                <a:lnTo>
                  <a:pt x="85344" y="28956"/>
                </a:lnTo>
                <a:lnTo>
                  <a:pt x="71628" y="28956"/>
                </a:lnTo>
                <a:lnTo>
                  <a:pt x="71628" y="57912"/>
                </a:lnTo>
                <a:lnTo>
                  <a:pt x="85344" y="57912"/>
                </a:lnTo>
                <a:lnTo>
                  <a:pt x="85344" y="86868"/>
                </a:lnTo>
                <a:close/>
              </a:path>
              <a:path w="417829" h="86994">
                <a:moveTo>
                  <a:pt x="85344" y="57912"/>
                </a:moveTo>
                <a:lnTo>
                  <a:pt x="71628" y="57912"/>
                </a:lnTo>
                <a:lnTo>
                  <a:pt x="71628" y="28956"/>
                </a:lnTo>
                <a:lnTo>
                  <a:pt x="85344" y="28956"/>
                </a:lnTo>
                <a:lnTo>
                  <a:pt x="85344" y="57912"/>
                </a:lnTo>
                <a:close/>
              </a:path>
              <a:path w="417829" h="86994">
                <a:moveTo>
                  <a:pt x="417576" y="57912"/>
                </a:moveTo>
                <a:lnTo>
                  <a:pt x="85344" y="57912"/>
                </a:lnTo>
                <a:lnTo>
                  <a:pt x="85344" y="28956"/>
                </a:lnTo>
                <a:lnTo>
                  <a:pt x="417576" y="28956"/>
                </a:lnTo>
                <a:lnTo>
                  <a:pt x="417576" y="57912"/>
                </a:lnTo>
                <a:close/>
              </a:path>
            </a:pathLst>
          </a:custGeom>
          <a:solidFill>
            <a:srgbClr val="0000FF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99" name="object 299"/>
          <p:cNvSpPr/>
          <p:nvPr/>
        </p:nvSpPr>
        <p:spPr>
          <a:xfrm>
            <a:off x="5866055" y="4585448"/>
            <a:ext cx="672353" cy="137272"/>
          </a:xfrm>
          <a:custGeom>
            <a:avLst/>
            <a:gdLst/>
            <a:ahLst/>
            <a:cxnLst/>
            <a:rect l="l" t="t" r="r" b="b"/>
            <a:pathLst>
              <a:path w="762000" h="155575">
                <a:moveTo>
                  <a:pt x="75092" y="111310"/>
                </a:moveTo>
                <a:lnTo>
                  <a:pt x="55269" y="89401"/>
                </a:lnTo>
                <a:lnTo>
                  <a:pt x="65532" y="82296"/>
                </a:lnTo>
                <a:lnTo>
                  <a:pt x="68580" y="82296"/>
                </a:lnTo>
                <a:lnTo>
                  <a:pt x="68580" y="80772"/>
                </a:lnTo>
                <a:lnTo>
                  <a:pt x="85344" y="74676"/>
                </a:lnTo>
                <a:lnTo>
                  <a:pt x="124968" y="62484"/>
                </a:lnTo>
                <a:lnTo>
                  <a:pt x="144780" y="57912"/>
                </a:lnTo>
                <a:lnTo>
                  <a:pt x="167640" y="51816"/>
                </a:lnTo>
                <a:lnTo>
                  <a:pt x="216408" y="42672"/>
                </a:lnTo>
                <a:lnTo>
                  <a:pt x="242316" y="36576"/>
                </a:lnTo>
                <a:lnTo>
                  <a:pt x="269748" y="33528"/>
                </a:lnTo>
                <a:lnTo>
                  <a:pt x="327660" y="24384"/>
                </a:lnTo>
                <a:lnTo>
                  <a:pt x="358140" y="21336"/>
                </a:lnTo>
                <a:lnTo>
                  <a:pt x="390144" y="16764"/>
                </a:lnTo>
                <a:lnTo>
                  <a:pt x="422148" y="13716"/>
                </a:lnTo>
                <a:lnTo>
                  <a:pt x="455676" y="12192"/>
                </a:lnTo>
                <a:lnTo>
                  <a:pt x="524256" y="6096"/>
                </a:lnTo>
                <a:lnTo>
                  <a:pt x="633984" y="1524"/>
                </a:lnTo>
                <a:lnTo>
                  <a:pt x="670560" y="1524"/>
                </a:lnTo>
                <a:lnTo>
                  <a:pt x="746760" y="0"/>
                </a:lnTo>
                <a:lnTo>
                  <a:pt x="755904" y="0"/>
                </a:lnTo>
                <a:lnTo>
                  <a:pt x="762000" y="6096"/>
                </a:lnTo>
                <a:lnTo>
                  <a:pt x="762000" y="22860"/>
                </a:lnTo>
                <a:lnTo>
                  <a:pt x="755904" y="28956"/>
                </a:lnTo>
                <a:lnTo>
                  <a:pt x="748284" y="28956"/>
                </a:lnTo>
                <a:lnTo>
                  <a:pt x="670560" y="30480"/>
                </a:lnTo>
                <a:lnTo>
                  <a:pt x="633984" y="30480"/>
                </a:lnTo>
                <a:lnTo>
                  <a:pt x="525780" y="35052"/>
                </a:lnTo>
                <a:lnTo>
                  <a:pt x="490728" y="38100"/>
                </a:lnTo>
                <a:lnTo>
                  <a:pt x="457200" y="39624"/>
                </a:lnTo>
                <a:lnTo>
                  <a:pt x="361188" y="48768"/>
                </a:lnTo>
                <a:lnTo>
                  <a:pt x="330708" y="53340"/>
                </a:lnTo>
                <a:lnTo>
                  <a:pt x="301752" y="56388"/>
                </a:lnTo>
                <a:lnTo>
                  <a:pt x="246888" y="65532"/>
                </a:lnTo>
                <a:lnTo>
                  <a:pt x="222504" y="70104"/>
                </a:lnTo>
                <a:lnTo>
                  <a:pt x="196596" y="74676"/>
                </a:lnTo>
                <a:lnTo>
                  <a:pt x="173736" y="80772"/>
                </a:lnTo>
                <a:lnTo>
                  <a:pt x="152400" y="85344"/>
                </a:lnTo>
                <a:lnTo>
                  <a:pt x="131064" y="91440"/>
                </a:lnTo>
                <a:lnTo>
                  <a:pt x="112776" y="96012"/>
                </a:lnTo>
                <a:lnTo>
                  <a:pt x="94488" y="102108"/>
                </a:lnTo>
                <a:lnTo>
                  <a:pt x="83058" y="106680"/>
                </a:lnTo>
                <a:lnTo>
                  <a:pt x="82296" y="106680"/>
                </a:lnTo>
                <a:lnTo>
                  <a:pt x="79248" y="108204"/>
                </a:lnTo>
                <a:lnTo>
                  <a:pt x="79925" y="108204"/>
                </a:lnTo>
                <a:lnTo>
                  <a:pt x="75092" y="111310"/>
                </a:lnTo>
                <a:close/>
              </a:path>
              <a:path w="762000" h="155575">
                <a:moveTo>
                  <a:pt x="0" y="155448"/>
                </a:moveTo>
                <a:lnTo>
                  <a:pt x="35052" y="67056"/>
                </a:lnTo>
                <a:lnTo>
                  <a:pt x="55269" y="89401"/>
                </a:lnTo>
                <a:lnTo>
                  <a:pt x="45720" y="96012"/>
                </a:lnTo>
                <a:lnTo>
                  <a:pt x="39624" y="100584"/>
                </a:lnTo>
                <a:lnTo>
                  <a:pt x="36576" y="109728"/>
                </a:lnTo>
                <a:lnTo>
                  <a:pt x="41148" y="115824"/>
                </a:lnTo>
                <a:lnTo>
                  <a:pt x="45720" y="123444"/>
                </a:lnTo>
                <a:lnTo>
                  <a:pt x="54864" y="124968"/>
                </a:lnTo>
                <a:lnTo>
                  <a:pt x="87448" y="124968"/>
                </a:lnTo>
                <a:lnTo>
                  <a:pt x="92964" y="131064"/>
                </a:lnTo>
                <a:lnTo>
                  <a:pt x="0" y="155448"/>
                </a:lnTo>
                <a:close/>
              </a:path>
              <a:path w="762000" h="155575">
                <a:moveTo>
                  <a:pt x="54864" y="124968"/>
                </a:moveTo>
                <a:lnTo>
                  <a:pt x="45720" y="123444"/>
                </a:lnTo>
                <a:lnTo>
                  <a:pt x="41148" y="115824"/>
                </a:lnTo>
                <a:lnTo>
                  <a:pt x="36576" y="109728"/>
                </a:lnTo>
                <a:lnTo>
                  <a:pt x="39624" y="100584"/>
                </a:lnTo>
                <a:lnTo>
                  <a:pt x="45720" y="96012"/>
                </a:lnTo>
                <a:lnTo>
                  <a:pt x="55269" y="89401"/>
                </a:lnTo>
                <a:lnTo>
                  <a:pt x="75092" y="111310"/>
                </a:lnTo>
                <a:lnTo>
                  <a:pt x="60960" y="120396"/>
                </a:lnTo>
                <a:lnTo>
                  <a:pt x="54864" y="124968"/>
                </a:lnTo>
                <a:close/>
              </a:path>
              <a:path w="762000" h="155575">
                <a:moveTo>
                  <a:pt x="79248" y="108204"/>
                </a:moveTo>
                <a:lnTo>
                  <a:pt x="82296" y="106680"/>
                </a:lnTo>
                <a:lnTo>
                  <a:pt x="81040" y="107486"/>
                </a:lnTo>
                <a:lnTo>
                  <a:pt x="79248" y="108204"/>
                </a:lnTo>
                <a:close/>
              </a:path>
              <a:path w="762000" h="155575">
                <a:moveTo>
                  <a:pt x="81040" y="107486"/>
                </a:moveTo>
                <a:lnTo>
                  <a:pt x="82296" y="106680"/>
                </a:lnTo>
                <a:lnTo>
                  <a:pt x="83058" y="106680"/>
                </a:lnTo>
                <a:lnTo>
                  <a:pt x="81040" y="107486"/>
                </a:lnTo>
                <a:close/>
              </a:path>
              <a:path w="762000" h="155575">
                <a:moveTo>
                  <a:pt x="79925" y="108204"/>
                </a:moveTo>
                <a:lnTo>
                  <a:pt x="79248" y="108204"/>
                </a:lnTo>
                <a:lnTo>
                  <a:pt x="81040" y="107486"/>
                </a:lnTo>
                <a:lnTo>
                  <a:pt x="79925" y="108204"/>
                </a:lnTo>
                <a:close/>
              </a:path>
              <a:path w="762000" h="155575">
                <a:moveTo>
                  <a:pt x="87448" y="124968"/>
                </a:moveTo>
                <a:lnTo>
                  <a:pt x="54864" y="124968"/>
                </a:lnTo>
                <a:lnTo>
                  <a:pt x="60960" y="120396"/>
                </a:lnTo>
                <a:lnTo>
                  <a:pt x="75092" y="111310"/>
                </a:lnTo>
                <a:lnTo>
                  <a:pt x="87448" y="124968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00" name="object 300"/>
          <p:cNvSpPr/>
          <p:nvPr/>
        </p:nvSpPr>
        <p:spPr>
          <a:xfrm>
            <a:off x="3928333" y="5499846"/>
            <a:ext cx="462803" cy="67235"/>
          </a:xfrm>
          <a:custGeom>
            <a:avLst/>
            <a:gdLst/>
            <a:ahLst/>
            <a:cxnLst/>
            <a:rect l="l" t="t" r="r" b="b"/>
            <a:pathLst>
              <a:path w="524510" h="76200">
                <a:moveTo>
                  <a:pt x="448056" y="76200"/>
                </a:moveTo>
                <a:lnTo>
                  <a:pt x="448056" y="0"/>
                </a:lnTo>
                <a:lnTo>
                  <a:pt x="515112" y="33528"/>
                </a:lnTo>
                <a:lnTo>
                  <a:pt x="460248" y="33528"/>
                </a:lnTo>
                <a:lnTo>
                  <a:pt x="460248" y="44196"/>
                </a:lnTo>
                <a:lnTo>
                  <a:pt x="512064" y="44196"/>
                </a:lnTo>
                <a:lnTo>
                  <a:pt x="448056" y="76200"/>
                </a:lnTo>
                <a:close/>
              </a:path>
              <a:path w="524510" h="76200">
                <a:moveTo>
                  <a:pt x="448056" y="44196"/>
                </a:moveTo>
                <a:lnTo>
                  <a:pt x="0" y="44196"/>
                </a:lnTo>
                <a:lnTo>
                  <a:pt x="0" y="33528"/>
                </a:lnTo>
                <a:lnTo>
                  <a:pt x="448056" y="33528"/>
                </a:lnTo>
                <a:lnTo>
                  <a:pt x="448056" y="44196"/>
                </a:lnTo>
                <a:close/>
              </a:path>
              <a:path w="524510" h="76200">
                <a:moveTo>
                  <a:pt x="512064" y="44196"/>
                </a:moveTo>
                <a:lnTo>
                  <a:pt x="460248" y="44196"/>
                </a:lnTo>
                <a:lnTo>
                  <a:pt x="460248" y="33528"/>
                </a:lnTo>
                <a:lnTo>
                  <a:pt x="515112" y="33528"/>
                </a:lnTo>
                <a:lnTo>
                  <a:pt x="524256" y="38100"/>
                </a:lnTo>
                <a:lnTo>
                  <a:pt x="512064" y="4419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01" name="object 301"/>
          <p:cNvSpPr txBox="1"/>
          <p:nvPr/>
        </p:nvSpPr>
        <p:spPr>
          <a:xfrm>
            <a:off x="3750412" y="4995522"/>
            <a:ext cx="749112" cy="481851"/>
          </a:xfrm>
          <a:prstGeom prst="rect">
            <a:avLst/>
          </a:prstGeom>
        </p:spPr>
        <p:txBody>
          <a:bodyPr vert="horz" wrap="square" lIns="0" tIns="76760" rIns="0" bIns="0" rtlCol="0">
            <a:spAutoFit/>
          </a:bodyPr>
          <a:lstStyle/>
          <a:p>
            <a:pPr algn="ctr" defTabSz="806867">
              <a:spcBef>
                <a:spcPts val="604"/>
              </a:spcBef>
            </a:pPr>
            <a:r>
              <a:rPr sz="1235" spc="141" dirty="0">
                <a:solidFill>
                  <a:prstClr val="black"/>
                </a:solidFill>
                <a:latin typeface="Times New Roman"/>
                <a:cs typeface="Times New Roman"/>
              </a:rPr>
              <a:t>P</a:t>
            </a:r>
            <a:r>
              <a:rPr sz="1235" spc="57" dirty="0">
                <a:solidFill>
                  <a:prstClr val="black"/>
                </a:solidFill>
                <a:latin typeface="Times New Roman"/>
                <a:cs typeface="Times New Roman"/>
              </a:rPr>
              <a:t>O</a:t>
            </a:r>
            <a:r>
              <a:rPr sz="1235" spc="141" dirty="0">
                <a:solidFill>
                  <a:prstClr val="black"/>
                </a:solidFill>
                <a:latin typeface="Times New Roman"/>
                <a:cs typeface="Times New Roman"/>
              </a:rPr>
              <a:t>S</a:t>
            </a:r>
            <a:r>
              <a:rPr sz="1235" spc="-71" dirty="0">
                <a:solidFill>
                  <a:prstClr val="black"/>
                </a:solidFill>
                <a:latin typeface="Times New Roman"/>
                <a:cs typeface="Times New Roman"/>
              </a:rPr>
              <a:t>I</a:t>
            </a:r>
            <a:r>
              <a:rPr sz="1235" dirty="0">
                <a:solidFill>
                  <a:prstClr val="black"/>
                </a:solidFill>
                <a:latin typeface="Times New Roman"/>
                <a:cs typeface="Times New Roman"/>
              </a:rPr>
              <a:t>T</a:t>
            </a:r>
            <a:r>
              <a:rPr sz="1235" spc="-71" dirty="0">
                <a:solidFill>
                  <a:prstClr val="black"/>
                </a:solidFill>
                <a:latin typeface="Times New Roman"/>
                <a:cs typeface="Times New Roman"/>
              </a:rPr>
              <a:t>I</a:t>
            </a:r>
            <a:r>
              <a:rPr sz="1235" spc="-66" dirty="0">
                <a:solidFill>
                  <a:prstClr val="black"/>
                </a:solidFill>
                <a:latin typeface="Times New Roman"/>
                <a:cs typeface="Times New Roman"/>
              </a:rPr>
              <a:t>V</a:t>
            </a:r>
            <a:r>
              <a:rPr sz="1235" spc="66" dirty="0">
                <a:solidFill>
                  <a:prstClr val="black"/>
                </a:solidFill>
                <a:latin typeface="Times New Roman"/>
                <a:cs typeface="Times New Roman"/>
              </a:rPr>
              <a:t>E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31938" algn="ctr" defTabSz="806867">
              <a:spcBef>
                <a:spcPts val="441"/>
              </a:spcBef>
            </a:pPr>
            <a:r>
              <a:rPr sz="1059" spc="150" dirty="0">
                <a:solidFill>
                  <a:srgbClr val="FF6600"/>
                </a:solidFill>
                <a:latin typeface="Times New Roman"/>
                <a:cs typeface="Times New Roman"/>
              </a:rPr>
              <a:t>charge</a:t>
            </a:r>
            <a:endParaRPr sz="1059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302" name="object 302"/>
          <p:cNvSpPr/>
          <p:nvPr/>
        </p:nvSpPr>
        <p:spPr>
          <a:xfrm>
            <a:off x="3894716" y="5559013"/>
            <a:ext cx="554131" cy="67235"/>
          </a:xfrm>
          <a:custGeom>
            <a:avLst/>
            <a:gdLst/>
            <a:ahLst/>
            <a:cxnLst/>
            <a:rect l="l" t="t" r="r" b="b"/>
            <a:pathLst>
              <a:path w="628014" h="76200">
                <a:moveTo>
                  <a:pt x="76200" y="76200"/>
                </a:moveTo>
                <a:lnTo>
                  <a:pt x="0" y="38100"/>
                </a:lnTo>
                <a:lnTo>
                  <a:pt x="76200" y="0"/>
                </a:lnTo>
                <a:lnTo>
                  <a:pt x="76200" y="33528"/>
                </a:lnTo>
                <a:lnTo>
                  <a:pt x="64008" y="33528"/>
                </a:lnTo>
                <a:lnTo>
                  <a:pt x="64008" y="42672"/>
                </a:lnTo>
                <a:lnTo>
                  <a:pt x="76200" y="42672"/>
                </a:lnTo>
                <a:lnTo>
                  <a:pt x="76200" y="76200"/>
                </a:lnTo>
                <a:close/>
              </a:path>
              <a:path w="628014" h="76200">
                <a:moveTo>
                  <a:pt x="76200" y="42672"/>
                </a:moveTo>
                <a:lnTo>
                  <a:pt x="64008" y="42672"/>
                </a:lnTo>
                <a:lnTo>
                  <a:pt x="64008" y="33528"/>
                </a:lnTo>
                <a:lnTo>
                  <a:pt x="76200" y="33528"/>
                </a:lnTo>
                <a:lnTo>
                  <a:pt x="76200" y="42672"/>
                </a:lnTo>
                <a:close/>
              </a:path>
              <a:path w="628014" h="76200">
                <a:moveTo>
                  <a:pt x="627888" y="42672"/>
                </a:moveTo>
                <a:lnTo>
                  <a:pt x="76200" y="42672"/>
                </a:lnTo>
                <a:lnTo>
                  <a:pt x="76200" y="33528"/>
                </a:lnTo>
                <a:lnTo>
                  <a:pt x="627888" y="33528"/>
                </a:lnTo>
                <a:lnTo>
                  <a:pt x="627888" y="426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03" name="object 303"/>
          <p:cNvSpPr txBox="1"/>
          <p:nvPr/>
        </p:nvSpPr>
        <p:spPr>
          <a:xfrm>
            <a:off x="3856635" y="5586791"/>
            <a:ext cx="670672" cy="174309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1059" spc="168" dirty="0">
                <a:solidFill>
                  <a:srgbClr val="00CC99"/>
                </a:solidFill>
                <a:latin typeface="Times New Roman"/>
                <a:cs typeface="Times New Roman"/>
              </a:rPr>
              <a:t>d</a:t>
            </a:r>
            <a:r>
              <a:rPr sz="1059" spc="207" dirty="0">
                <a:solidFill>
                  <a:srgbClr val="00CC99"/>
                </a:solidFill>
                <a:latin typeface="Times New Roman"/>
                <a:cs typeface="Times New Roman"/>
              </a:rPr>
              <a:t>éc</a:t>
            </a:r>
            <a:r>
              <a:rPr sz="1059" spc="106" dirty="0">
                <a:solidFill>
                  <a:srgbClr val="00CC99"/>
                </a:solidFill>
                <a:latin typeface="Times New Roman"/>
                <a:cs typeface="Times New Roman"/>
              </a:rPr>
              <a:t>h</a:t>
            </a:r>
            <a:r>
              <a:rPr sz="1059" spc="224" dirty="0">
                <a:solidFill>
                  <a:srgbClr val="00CC99"/>
                </a:solidFill>
                <a:latin typeface="Times New Roman"/>
                <a:cs typeface="Times New Roman"/>
              </a:rPr>
              <a:t>a</a:t>
            </a:r>
            <a:r>
              <a:rPr sz="1059" spc="-18" dirty="0">
                <a:solidFill>
                  <a:srgbClr val="00CC99"/>
                </a:solidFill>
                <a:latin typeface="Times New Roman"/>
                <a:cs typeface="Times New Roman"/>
              </a:rPr>
              <a:t>r</a:t>
            </a:r>
            <a:r>
              <a:rPr sz="1059" spc="168" dirty="0">
                <a:solidFill>
                  <a:srgbClr val="00CC99"/>
                </a:solidFill>
                <a:latin typeface="Times New Roman"/>
                <a:cs typeface="Times New Roman"/>
              </a:rPr>
              <a:t>g</a:t>
            </a:r>
            <a:r>
              <a:rPr sz="1059" spc="207" dirty="0">
                <a:solidFill>
                  <a:srgbClr val="00CC99"/>
                </a:solidFill>
                <a:latin typeface="Times New Roman"/>
                <a:cs typeface="Times New Roman"/>
              </a:rPr>
              <a:t>e</a:t>
            </a:r>
            <a:endParaRPr sz="1059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304" name="object 304"/>
          <p:cNvSpPr/>
          <p:nvPr/>
        </p:nvSpPr>
        <p:spPr>
          <a:xfrm>
            <a:off x="7458186" y="5502537"/>
            <a:ext cx="462803" cy="67235"/>
          </a:xfrm>
          <a:custGeom>
            <a:avLst/>
            <a:gdLst/>
            <a:ahLst/>
            <a:cxnLst/>
            <a:rect l="l" t="t" r="r" b="b"/>
            <a:pathLst>
              <a:path w="524509" h="76200">
                <a:moveTo>
                  <a:pt x="448056" y="76200"/>
                </a:moveTo>
                <a:lnTo>
                  <a:pt x="448056" y="0"/>
                </a:lnTo>
                <a:lnTo>
                  <a:pt x="512064" y="32004"/>
                </a:lnTo>
                <a:lnTo>
                  <a:pt x="460248" y="32004"/>
                </a:lnTo>
                <a:lnTo>
                  <a:pt x="460248" y="42672"/>
                </a:lnTo>
                <a:lnTo>
                  <a:pt x="515112" y="42672"/>
                </a:lnTo>
                <a:lnTo>
                  <a:pt x="448056" y="76200"/>
                </a:lnTo>
                <a:close/>
              </a:path>
              <a:path w="524509" h="76200">
                <a:moveTo>
                  <a:pt x="448056" y="42672"/>
                </a:moveTo>
                <a:lnTo>
                  <a:pt x="0" y="42672"/>
                </a:lnTo>
                <a:lnTo>
                  <a:pt x="0" y="32004"/>
                </a:lnTo>
                <a:lnTo>
                  <a:pt x="448056" y="32004"/>
                </a:lnTo>
                <a:lnTo>
                  <a:pt x="448056" y="42672"/>
                </a:lnTo>
                <a:close/>
              </a:path>
              <a:path w="524509" h="76200">
                <a:moveTo>
                  <a:pt x="515112" y="42672"/>
                </a:moveTo>
                <a:lnTo>
                  <a:pt x="460248" y="42672"/>
                </a:lnTo>
                <a:lnTo>
                  <a:pt x="460248" y="32004"/>
                </a:lnTo>
                <a:lnTo>
                  <a:pt x="512064" y="32004"/>
                </a:lnTo>
                <a:lnTo>
                  <a:pt x="524256" y="38100"/>
                </a:lnTo>
                <a:lnTo>
                  <a:pt x="515112" y="426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05" name="object 305"/>
          <p:cNvSpPr txBox="1"/>
          <p:nvPr/>
        </p:nvSpPr>
        <p:spPr>
          <a:xfrm>
            <a:off x="7422780" y="5307082"/>
            <a:ext cx="495860" cy="174309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1059" spc="207" dirty="0">
                <a:solidFill>
                  <a:srgbClr val="FF6600"/>
                </a:solidFill>
                <a:latin typeface="Times New Roman"/>
                <a:cs typeface="Times New Roman"/>
              </a:rPr>
              <a:t>c</a:t>
            </a:r>
            <a:r>
              <a:rPr sz="1059" spc="106" dirty="0">
                <a:solidFill>
                  <a:srgbClr val="FF6600"/>
                </a:solidFill>
                <a:latin typeface="Times New Roman"/>
                <a:cs typeface="Times New Roman"/>
              </a:rPr>
              <a:t>h</a:t>
            </a:r>
            <a:r>
              <a:rPr sz="1059" spc="224" dirty="0">
                <a:solidFill>
                  <a:srgbClr val="FF6600"/>
                </a:solidFill>
                <a:latin typeface="Times New Roman"/>
                <a:cs typeface="Times New Roman"/>
              </a:rPr>
              <a:t>a</a:t>
            </a:r>
            <a:r>
              <a:rPr sz="1059" spc="-18" dirty="0">
                <a:solidFill>
                  <a:srgbClr val="FF6600"/>
                </a:solidFill>
                <a:latin typeface="Times New Roman"/>
                <a:cs typeface="Times New Roman"/>
              </a:rPr>
              <a:t>r</a:t>
            </a:r>
            <a:r>
              <a:rPr sz="1059" spc="168" dirty="0">
                <a:solidFill>
                  <a:srgbClr val="FF6600"/>
                </a:solidFill>
                <a:latin typeface="Times New Roman"/>
                <a:cs typeface="Times New Roman"/>
              </a:rPr>
              <a:t>g</a:t>
            </a:r>
            <a:r>
              <a:rPr sz="1059" spc="207" dirty="0">
                <a:solidFill>
                  <a:srgbClr val="FF6600"/>
                </a:solidFill>
                <a:latin typeface="Times New Roman"/>
                <a:cs typeface="Times New Roman"/>
              </a:rPr>
              <a:t>e</a:t>
            </a:r>
            <a:endParaRPr sz="1059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306" name="object 306"/>
          <p:cNvSpPr/>
          <p:nvPr/>
        </p:nvSpPr>
        <p:spPr>
          <a:xfrm>
            <a:off x="7428603" y="5560359"/>
            <a:ext cx="575982" cy="67235"/>
          </a:xfrm>
          <a:custGeom>
            <a:avLst/>
            <a:gdLst/>
            <a:ahLst/>
            <a:cxnLst/>
            <a:rect l="l" t="t" r="r" b="b"/>
            <a:pathLst>
              <a:path w="652779" h="76200">
                <a:moveTo>
                  <a:pt x="76200" y="76200"/>
                </a:moveTo>
                <a:lnTo>
                  <a:pt x="0" y="38100"/>
                </a:lnTo>
                <a:lnTo>
                  <a:pt x="76200" y="0"/>
                </a:lnTo>
                <a:lnTo>
                  <a:pt x="76200" y="33528"/>
                </a:lnTo>
                <a:lnTo>
                  <a:pt x="64008" y="33528"/>
                </a:lnTo>
                <a:lnTo>
                  <a:pt x="64008" y="42672"/>
                </a:lnTo>
                <a:lnTo>
                  <a:pt x="76200" y="42672"/>
                </a:lnTo>
                <a:lnTo>
                  <a:pt x="76200" y="76200"/>
                </a:lnTo>
                <a:close/>
              </a:path>
              <a:path w="652779" h="76200">
                <a:moveTo>
                  <a:pt x="76200" y="42672"/>
                </a:moveTo>
                <a:lnTo>
                  <a:pt x="64008" y="42672"/>
                </a:lnTo>
                <a:lnTo>
                  <a:pt x="64008" y="33528"/>
                </a:lnTo>
                <a:lnTo>
                  <a:pt x="76200" y="33528"/>
                </a:lnTo>
                <a:lnTo>
                  <a:pt x="76200" y="42672"/>
                </a:lnTo>
                <a:close/>
              </a:path>
              <a:path w="652779" h="76200">
                <a:moveTo>
                  <a:pt x="652272" y="42672"/>
                </a:moveTo>
                <a:lnTo>
                  <a:pt x="76200" y="42672"/>
                </a:lnTo>
                <a:lnTo>
                  <a:pt x="76200" y="33528"/>
                </a:lnTo>
                <a:lnTo>
                  <a:pt x="652272" y="33528"/>
                </a:lnTo>
                <a:lnTo>
                  <a:pt x="652272" y="426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07" name="object 307"/>
          <p:cNvSpPr txBox="1"/>
          <p:nvPr/>
        </p:nvSpPr>
        <p:spPr>
          <a:xfrm>
            <a:off x="7385108" y="5588145"/>
            <a:ext cx="670672" cy="174309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 defTabSz="806867">
              <a:spcBef>
                <a:spcPts val="88"/>
              </a:spcBef>
            </a:pPr>
            <a:r>
              <a:rPr sz="1059" spc="168" dirty="0">
                <a:solidFill>
                  <a:srgbClr val="00CC99"/>
                </a:solidFill>
                <a:latin typeface="Times New Roman"/>
                <a:cs typeface="Times New Roman"/>
              </a:rPr>
              <a:t>d</a:t>
            </a:r>
            <a:r>
              <a:rPr sz="1059" spc="207" dirty="0">
                <a:solidFill>
                  <a:srgbClr val="00CC99"/>
                </a:solidFill>
                <a:latin typeface="Times New Roman"/>
                <a:cs typeface="Times New Roman"/>
              </a:rPr>
              <a:t>éc</a:t>
            </a:r>
            <a:r>
              <a:rPr sz="1059" spc="106" dirty="0">
                <a:solidFill>
                  <a:srgbClr val="00CC99"/>
                </a:solidFill>
                <a:latin typeface="Times New Roman"/>
                <a:cs typeface="Times New Roman"/>
              </a:rPr>
              <a:t>h</a:t>
            </a:r>
            <a:r>
              <a:rPr sz="1059" spc="224" dirty="0">
                <a:solidFill>
                  <a:srgbClr val="00CC99"/>
                </a:solidFill>
                <a:latin typeface="Times New Roman"/>
                <a:cs typeface="Times New Roman"/>
              </a:rPr>
              <a:t>a</a:t>
            </a:r>
            <a:r>
              <a:rPr sz="1059" spc="-18" dirty="0">
                <a:solidFill>
                  <a:srgbClr val="00CC99"/>
                </a:solidFill>
                <a:latin typeface="Times New Roman"/>
                <a:cs typeface="Times New Roman"/>
              </a:rPr>
              <a:t>r</a:t>
            </a:r>
            <a:r>
              <a:rPr sz="1059" spc="168" dirty="0">
                <a:solidFill>
                  <a:srgbClr val="00CC99"/>
                </a:solidFill>
                <a:latin typeface="Times New Roman"/>
                <a:cs typeface="Times New Roman"/>
              </a:rPr>
              <a:t>g</a:t>
            </a:r>
            <a:r>
              <a:rPr sz="1059" spc="207" dirty="0">
                <a:solidFill>
                  <a:srgbClr val="00CC99"/>
                </a:solidFill>
                <a:latin typeface="Times New Roman"/>
                <a:cs typeface="Times New Roman"/>
              </a:rPr>
              <a:t>e</a:t>
            </a:r>
            <a:endParaRPr sz="1059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308" name="object 308"/>
          <p:cNvSpPr/>
          <p:nvPr/>
        </p:nvSpPr>
        <p:spPr>
          <a:xfrm>
            <a:off x="5523155" y="4621754"/>
            <a:ext cx="461682" cy="67235"/>
          </a:xfrm>
          <a:custGeom>
            <a:avLst/>
            <a:gdLst/>
            <a:ahLst/>
            <a:cxnLst/>
            <a:rect l="l" t="t" r="r" b="b"/>
            <a:pathLst>
              <a:path w="523239" h="76200">
                <a:moveTo>
                  <a:pt x="446532" y="76200"/>
                </a:moveTo>
                <a:lnTo>
                  <a:pt x="446532" y="0"/>
                </a:lnTo>
                <a:lnTo>
                  <a:pt x="513588" y="33528"/>
                </a:lnTo>
                <a:lnTo>
                  <a:pt x="460248" y="33528"/>
                </a:lnTo>
                <a:lnTo>
                  <a:pt x="460248" y="42672"/>
                </a:lnTo>
                <a:lnTo>
                  <a:pt x="513588" y="42672"/>
                </a:lnTo>
                <a:lnTo>
                  <a:pt x="446532" y="76200"/>
                </a:lnTo>
                <a:close/>
              </a:path>
              <a:path w="523239" h="76200">
                <a:moveTo>
                  <a:pt x="446532" y="42672"/>
                </a:moveTo>
                <a:lnTo>
                  <a:pt x="0" y="42672"/>
                </a:lnTo>
                <a:lnTo>
                  <a:pt x="0" y="33528"/>
                </a:lnTo>
                <a:lnTo>
                  <a:pt x="446532" y="33528"/>
                </a:lnTo>
                <a:lnTo>
                  <a:pt x="446532" y="42672"/>
                </a:lnTo>
                <a:close/>
              </a:path>
              <a:path w="523239" h="76200">
                <a:moveTo>
                  <a:pt x="513588" y="42672"/>
                </a:moveTo>
                <a:lnTo>
                  <a:pt x="460248" y="42672"/>
                </a:lnTo>
                <a:lnTo>
                  <a:pt x="460248" y="33528"/>
                </a:lnTo>
                <a:lnTo>
                  <a:pt x="513588" y="33528"/>
                </a:lnTo>
                <a:lnTo>
                  <a:pt x="522732" y="38100"/>
                </a:lnTo>
                <a:lnTo>
                  <a:pt x="513588" y="426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09" name="object 309"/>
          <p:cNvSpPr/>
          <p:nvPr/>
        </p:nvSpPr>
        <p:spPr>
          <a:xfrm>
            <a:off x="5657626" y="3960158"/>
            <a:ext cx="149262" cy="162709"/>
          </a:xfrm>
          <a:prstGeom prst="rect">
            <a:avLst/>
          </a:prstGeom>
          <a:blipFill>
            <a:blip r:embed="rId10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10" name="object 310"/>
          <p:cNvSpPr txBox="1">
            <a:spLocks noGrp="1"/>
          </p:cNvSpPr>
          <p:nvPr>
            <p:ph type="sldNum" sz="quarter" idx="7"/>
          </p:nvPr>
        </p:nvSpPr>
        <p:spPr>
          <a:xfrm>
            <a:off x="907638" y="6143984"/>
            <a:ext cx="215515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fr-FR"/>
            </a:defPPr>
            <a:lvl1pPr marL="0" algn="l" defTabSz="457200" rtl="0" eaLnBrk="1" latinLnBrk="0" hangingPunct="1">
              <a:defRPr sz="1588" b="0" i="0" kern="1200">
                <a:solidFill>
                  <a:schemeClr val="tx1"/>
                </a:solidFill>
                <a:latin typeface="Times New Roman"/>
                <a:ea typeface="+mn-ea"/>
                <a:cs typeface="Times New Roman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413" defTabSz="806867">
              <a:lnSpc>
                <a:spcPts val="1822"/>
              </a:lnSpc>
            </a:pPr>
            <a:fld id="{81D60167-4931-47E6-BA6A-407CBD079E47}" type="slidenum">
              <a:rPr lang="fr-FR" sz="1059" spc="53" smtClean="0"/>
              <a:pPr marL="59955">
                <a:lnSpc>
                  <a:spcPts val="1244"/>
                </a:lnSpc>
              </a:pPr>
              <a:t>8</a:t>
            </a:fld>
            <a:endParaRPr spc="84" dirty="0">
              <a:solidFill>
                <a:prstClr val="black"/>
              </a:solidFill>
            </a:endParaRPr>
          </a:p>
        </p:txBody>
      </p:sp>
      <p:sp>
        <p:nvSpPr>
          <p:cNvPr id="311" name="object 311"/>
          <p:cNvSpPr txBox="1">
            <a:spLocks noGrp="1"/>
          </p:cNvSpPr>
          <p:nvPr>
            <p:ph type="ftr" sz="quarter" idx="5"/>
          </p:nvPr>
        </p:nvSpPr>
        <p:spPr>
          <a:xfrm>
            <a:off x="1266642" y="6156040"/>
            <a:ext cx="831273" cy="2172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fr-FR"/>
            </a:defPPr>
            <a:lvl1pPr marL="0" algn="l" defTabSz="457200" rtl="0" eaLnBrk="1" latinLnBrk="0" hangingPunct="1">
              <a:defRPr sz="706" b="0" i="0" kern="1200">
                <a:solidFill>
                  <a:schemeClr val="tx1"/>
                </a:solidFill>
                <a:latin typeface="Times New Roman"/>
                <a:ea typeface="+mn-ea"/>
                <a:cs typeface="Times New Roman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206" marR="4483" defTabSz="806867">
              <a:spcBef>
                <a:spcPts val="13"/>
              </a:spcBef>
            </a:pPr>
            <a:r>
              <a:rPr lang="sv-SE" spc="-26"/>
              <a:t>EVOLIS- </a:t>
            </a:r>
            <a:r>
              <a:rPr lang="sv-SE" spc="35"/>
              <a:t>Saft  </a:t>
            </a:r>
            <a:r>
              <a:rPr lang="sv-SE" spc="22"/>
              <a:t>6-7 </a:t>
            </a:r>
            <a:r>
              <a:rPr lang="sv-SE" spc="31"/>
              <a:t>NOV</a:t>
            </a:r>
            <a:r>
              <a:rPr lang="sv-SE" spc="-62"/>
              <a:t> </a:t>
            </a:r>
            <a:r>
              <a:rPr lang="sv-SE" spc="31"/>
              <a:t>2019</a:t>
            </a:r>
            <a:endParaRPr spc="31" dirty="0">
              <a:solidFill>
                <a:prstClr val="black"/>
              </a:solidFill>
            </a:endParaRPr>
          </a:p>
        </p:txBody>
      </p:sp>
      <p:sp>
        <p:nvSpPr>
          <p:cNvPr id="312" name="object 312"/>
          <p:cNvSpPr txBox="1"/>
          <p:nvPr/>
        </p:nvSpPr>
        <p:spPr>
          <a:xfrm>
            <a:off x="5018449" y="6185411"/>
            <a:ext cx="2180104" cy="1222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206" defTabSz="806867"/>
            <a:r>
              <a:rPr sz="794" spc="49" dirty="0">
                <a:solidFill>
                  <a:prstClr val="black"/>
                </a:solidFill>
                <a:latin typeface="Times New Roman"/>
                <a:cs typeface="Times New Roman"/>
              </a:rPr>
              <a:t>Informations </a:t>
            </a:r>
            <a:r>
              <a:rPr sz="794" spc="71" dirty="0">
                <a:solidFill>
                  <a:prstClr val="black"/>
                </a:solidFill>
                <a:latin typeface="Times New Roman"/>
                <a:cs typeface="Times New Roman"/>
              </a:rPr>
              <a:t>propriété </a:t>
            </a:r>
            <a:r>
              <a:rPr sz="794" spc="150" dirty="0">
                <a:solidFill>
                  <a:prstClr val="black"/>
                </a:solidFill>
                <a:latin typeface="Times New Roman"/>
                <a:cs typeface="Times New Roman"/>
              </a:rPr>
              <a:t>de</a:t>
            </a:r>
            <a:r>
              <a:rPr sz="794" spc="-79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794" spc="40" dirty="0">
                <a:solidFill>
                  <a:prstClr val="black"/>
                </a:solidFill>
                <a:latin typeface="Times New Roman"/>
                <a:cs typeface="Times New Roman"/>
              </a:rPr>
              <a:t>Saft </a:t>
            </a:r>
            <a:r>
              <a:rPr sz="794" dirty="0">
                <a:solidFill>
                  <a:prstClr val="black"/>
                </a:solidFill>
                <a:latin typeface="Times New Roman"/>
                <a:cs typeface="Times New Roman"/>
              </a:rPr>
              <a:t>– </a:t>
            </a:r>
            <a:r>
              <a:rPr sz="794" spc="57" dirty="0">
                <a:solidFill>
                  <a:prstClr val="black"/>
                </a:solidFill>
                <a:latin typeface="Times New Roman"/>
                <a:cs typeface="Times New Roman"/>
              </a:rPr>
              <a:t>Confidentiel</a:t>
            </a:r>
            <a:endParaRPr sz="794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061883" y="1011218"/>
            <a:ext cx="8068235" cy="10085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9570720" y="6154718"/>
            <a:ext cx="145228" cy="9412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9793941" y="6173545"/>
            <a:ext cx="48745" cy="75640"/>
          </a:xfrm>
          <a:custGeom>
            <a:avLst/>
            <a:gdLst/>
            <a:ahLst/>
            <a:cxnLst/>
            <a:rect l="l" t="t" r="r" b="b"/>
            <a:pathLst>
              <a:path w="55245" h="85725">
                <a:moveTo>
                  <a:pt x="0" y="0"/>
                </a:moveTo>
                <a:lnTo>
                  <a:pt x="54864" y="0"/>
                </a:lnTo>
                <a:lnTo>
                  <a:pt x="54864" y="85344"/>
                </a:lnTo>
                <a:lnTo>
                  <a:pt x="0" y="85344"/>
                </a:lnTo>
                <a:lnTo>
                  <a:pt x="0" y="0"/>
                </a:lnTo>
                <a:close/>
              </a:path>
            </a:pathLst>
          </a:custGeom>
          <a:solidFill>
            <a:srgbClr val="C11F2D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9740153" y="6164804"/>
            <a:ext cx="156322" cy="0"/>
          </a:xfrm>
          <a:custGeom>
            <a:avLst/>
            <a:gdLst/>
            <a:ahLst/>
            <a:cxnLst/>
            <a:rect l="l" t="t" r="r" b="b"/>
            <a:pathLst>
              <a:path w="177165">
                <a:moveTo>
                  <a:pt x="0" y="0"/>
                </a:moveTo>
                <a:lnTo>
                  <a:pt x="176784" y="0"/>
                </a:lnTo>
              </a:path>
            </a:pathLst>
          </a:custGeom>
          <a:ln w="22860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9194201" y="6154718"/>
            <a:ext cx="151952" cy="9412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9373048" y="6154718"/>
            <a:ext cx="160020" cy="9412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9194202" y="6312722"/>
            <a:ext cx="705971" cy="0"/>
          </a:xfrm>
          <a:custGeom>
            <a:avLst/>
            <a:gdLst/>
            <a:ahLst/>
            <a:cxnLst/>
            <a:rect l="l" t="t" r="r" b="b"/>
            <a:pathLst>
              <a:path w="800100">
                <a:moveTo>
                  <a:pt x="0" y="0"/>
                </a:moveTo>
                <a:lnTo>
                  <a:pt x="800100" y="0"/>
                </a:lnTo>
              </a:path>
            </a:pathLst>
          </a:custGeom>
          <a:ln w="53340">
            <a:solidFill>
              <a:srgbClr val="C11F2D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2538581" y="6196405"/>
            <a:ext cx="0" cy="118782"/>
          </a:xfrm>
          <a:custGeom>
            <a:avLst/>
            <a:gdLst/>
            <a:ahLst/>
            <a:cxnLst/>
            <a:rect l="l" t="t" r="r" b="b"/>
            <a:pathLst>
              <a:path h="134620">
                <a:moveTo>
                  <a:pt x="0" y="0"/>
                </a:moveTo>
                <a:lnTo>
                  <a:pt x="0" y="134112"/>
                </a:lnTo>
              </a:path>
            </a:pathLst>
          </a:custGeom>
          <a:ln w="10668">
            <a:solidFill>
              <a:srgbClr val="595959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061883" y="1210236"/>
            <a:ext cx="8068235" cy="44778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2675921" y="732440"/>
            <a:ext cx="2635624" cy="309421"/>
          </a:xfrm>
          <a:prstGeom prst="rect">
            <a:avLst/>
          </a:prstGeom>
        </p:spPr>
        <p:txBody>
          <a:bodyPr vert="horz" wrap="square" lIns="0" tIns="10646" rIns="0" bIns="0" rtlCol="0">
            <a:spAutoFit/>
          </a:bodyPr>
          <a:lstStyle/>
          <a:p>
            <a:pPr marL="11206">
              <a:spcBef>
                <a:spcPts val="84"/>
              </a:spcBef>
            </a:pPr>
            <a:r>
              <a:rPr sz="1941" spc="137" dirty="0">
                <a:solidFill>
                  <a:srgbClr val="004660"/>
                </a:solidFill>
              </a:rPr>
              <a:t>Energie </a:t>
            </a:r>
            <a:r>
              <a:rPr sz="1941" spc="207" dirty="0">
                <a:solidFill>
                  <a:srgbClr val="004660"/>
                </a:solidFill>
              </a:rPr>
              <a:t>et </a:t>
            </a:r>
            <a:r>
              <a:rPr sz="1941" spc="221" dirty="0">
                <a:solidFill>
                  <a:srgbClr val="004660"/>
                </a:solidFill>
              </a:rPr>
              <a:t>puissance</a:t>
            </a:r>
            <a:r>
              <a:rPr sz="1941" spc="-212" dirty="0">
                <a:solidFill>
                  <a:srgbClr val="004660"/>
                </a:solidFill>
              </a:rPr>
              <a:t> </a:t>
            </a:r>
            <a:r>
              <a:rPr sz="1941" dirty="0">
                <a:solidFill>
                  <a:srgbClr val="004660"/>
                </a:solidFill>
              </a:rPr>
              <a:t>:</a:t>
            </a:r>
            <a:endParaRPr sz="1941"/>
          </a:p>
        </p:txBody>
      </p:sp>
      <p:sp>
        <p:nvSpPr>
          <p:cNvPr id="12" name="object 12"/>
          <p:cNvSpPr/>
          <p:nvPr/>
        </p:nvSpPr>
        <p:spPr>
          <a:xfrm>
            <a:off x="4290060" y="4725297"/>
            <a:ext cx="0" cy="1000685"/>
          </a:xfrm>
          <a:custGeom>
            <a:avLst/>
            <a:gdLst/>
            <a:ahLst/>
            <a:cxnLst/>
            <a:rect l="l" t="t" r="r" b="b"/>
            <a:pathLst>
              <a:path h="1134110">
                <a:moveTo>
                  <a:pt x="0" y="0"/>
                </a:moveTo>
                <a:lnTo>
                  <a:pt x="0" y="1133856"/>
                </a:lnTo>
              </a:path>
            </a:pathLst>
          </a:custGeom>
          <a:ln w="579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4260475" y="4721263"/>
            <a:ext cx="60512" cy="1008529"/>
          </a:xfrm>
          <a:custGeom>
            <a:avLst/>
            <a:gdLst/>
            <a:ahLst/>
            <a:cxnLst/>
            <a:rect l="l" t="t" r="r" b="b"/>
            <a:pathLst>
              <a:path w="68580" h="1143000">
                <a:moveTo>
                  <a:pt x="65532" y="1143000"/>
                </a:moveTo>
                <a:lnTo>
                  <a:pt x="3048" y="1143000"/>
                </a:lnTo>
                <a:lnTo>
                  <a:pt x="0" y="1141476"/>
                </a:lnTo>
                <a:lnTo>
                  <a:pt x="0" y="3048"/>
                </a:lnTo>
                <a:lnTo>
                  <a:pt x="3048" y="0"/>
                </a:lnTo>
                <a:lnTo>
                  <a:pt x="65532" y="0"/>
                </a:lnTo>
                <a:lnTo>
                  <a:pt x="68580" y="3048"/>
                </a:lnTo>
                <a:lnTo>
                  <a:pt x="68580" y="4572"/>
                </a:lnTo>
                <a:lnTo>
                  <a:pt x="10668" y="4572"/>
                </a:lnTo>
                <a:lnTo>
                  <a:pt x="4572" y="10668"/>
                </a:lnTo>
                <a:lnTo>
                  <a:pt x="10668" y="10668"/>
                </a:lnTo>
                <a:lnTo>
                  <a:pt x="10668" y="1133856"/>
                </a:lnTo>
                <a:lnTo>
                  <a:pt x="4572" y="1133856"/>
                </a:lnTo>
                <a:lnTo>
                  <a:pt x="10668" y="1138428"/>
                </a:lnTo>
                <a:lnTo>
                  <a:pt x="68580" y="1138428"/>
                </a:lnTo>
                <a:lnTo>
                  <a:pt x="68580" y="1141476"/>
                </a:lnTo>
                <a:lnTo>
                  <a:pt x="65532" y="1143000"/>
                </a:lnTo>
                <a:close/>
              </a:path>
              <a:path w="68580" h="1143000">
                <a:moveTo>
                  <a:pt x="10668" y="10668"/>
                </a:moveTo>
                <a:lnTo>
                  <a:pt x="4572" y="10668"/>
                </a:lnTo>
                <a:lnTo>
                  <a:pt x="10668" y="4572"/>
                </a:lnTo>
                <a:lnTo>
                  <a:pt x="10668" y="10668"/>
                </a:lnTo>
                <a:close/>
              </a:path>
              <a:path w="68580" h="1143000">
                <a:moveTo>
                  <a:pt x="57912" y="10668"/>
                </a:moveTo>
                <a:lnTo>
                  <a:pt x="10668" y="10668"/>
                </a:lnTo>
                <a:lnTo>
                  <a:pt x="10668" y="4572"/>
                </a:lnTo>
                <a:lnTo>
                  <a:pt x="57912" y="4572"/>
                </a:lnTo>
                <a:lnTo>
                  <a:pt x="57912" y="10668"/>
                </a:lnTo>
                <a:close/>
              </a:path>
              <a:path w="68580" h="1143000">
                <a:moveTo>
                  <a:pt x="57912" y="1138428"/>
                </a:moveTo>
                <a:lnTo>
                  <a:pt x="57912" y="4572"/>
                </a:lnTo>
                <a:lnTo>
                  <a:pt x="62484" y="10668"/>
                </a:lnTo>
                <a:lnTo>
                  <a:pt x="68580" y="10668"/>
                </a:lnTo>
                <a:lnTo>
                  <a:pt x="68580" y="1133856"/>
                </a:lnTo>
                <a:lnTo>
                  <a:pt x="62484" y="1133856"/>
                </a:lnTo>
                <a:lnTo>
                  <a:pt x="57912" y="1138428"/>
                </a:lnTo>
                <a:close/>
              </a:path>
              <a:path w="68580" h="1143000">
                <a:moveTo>
                  <a:pt x="68580" y="10668"/>
                </a:moveTo>
                <a:lnTo>
                  <a:pt x="62484" y="10668"/>
                </a:lnTo>
                <a:lnTo>
                  <a:pt x="57912" y="4572"/>
                </a:lnTo>
                <a:lnTo>
                  <a:pt x="68580" y="4572"/>
                </a:lnTo>
                <a:lnTo>
                  <a:pt x="68580" y="10668"/>
                </a:lnTo>
                <a:close/>
              </a:path>
              <a:path w="68580" h="1143000">
                <a:moveTo>
                  <a:pt x="10668" y="1138428"/>
                </a:moveTo>
                <a:lnTo>
                  <a:pt x="4572" y="1133856"/>
                </a:lnTo>
                <a:lnTo>
                  <a:pt x="10668" y="1133856"/>
                </a:lnTo>
                <a:lnTo>
                  <a:pt x="10668" y="1138428"/>
                </a:lnTo>
                <a:close/>
              </a:path>
              <a:path w="68580" h="1143000">
                <a:moveTo>
                  <a:pt x="57912" y="1138428"/>
                </a:moveTo>
                <a:lnTo>
                  <a:pt x="10668" y="1138428"/>
                </a:lnTo>
                <a:lnTo>
                  <a:pt x="10668" y="1133856"/>
                </a:lnTo>
                <a:lnTo>
                  <a:pt x="57912" y="1133856"/>
                </a:lnTo>
                <a:lnTo>
                  <a:pt x="57912" y="1138428"/>
                </a:lnTo>
                <a:close/>
              </a:path>
              <a:path w="68580" h="1143000">
                <a:moveTo>
                  <a:pt x="68580" y="1138428"/>
                </a:moveTo>
                <a:lnTo>
                  <a:pt x="57912" y="1138428"/>
                </a:lnTo>
                <a:lnTo>
                  <a:pt x="62484" y="1133856"/>
                </a:lnTo>
                <a:lnTo>
                  <a:pt x="68580" y="1133856"/>
                </a:lnTo>
                <a:lnTo>
                  <a:pt x="68580" y="11384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4319644" y="4727986"/>
            <a:ext cx="86285" cy="999565"/>
          </a:xfrm>
          <a:custGeom>
            <a:avLst/>
            <a:gdLst/>
            <a:ahLst/>
            <a:cxnLst/>
            <a:rect l="l" t="t" r="r" b="b"/>
            <a:pathLst>
              <a:path w="97789" h="1132839">
                <a:moveTo>
                  <a:pt x="0" y="0"/>
                </a:moveTo>
                <a:lnTo>
                  <a:pt x="97536" y="0"/>
                </a:lnTo>
                <a:lnTo>
                  <a:pt x="97536" y="1132332"/>
                </a:lnTo>
                <a:lnTo>
                  <a:pt x="0" y="1132332"/>
                </a:lnTo>
                <a:lnTo>
                  <a:pt x="0" y="0"/>
                </a:lnTo>
                <a:close/>
              </a:path>
            </a:pathLst>
          </a:custGeom>
          <a:solidFill>
            <a:srgbClr val="BFBFBF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4315609" y="4722607"/>
            <a:ext cx="94129" cy="1008529"/>
          </a:xfrm>
          <a:custGeom>
            <a:avLst/>
            <a:gdLst/>
            <a:ahLst/>
            <a:cxnLst/>
            <a:rect l="l" t="t" r="r" b="b"/>
            <a:pathLst>
              <a:path w="106680" h="1143000">
                <a:moveTo>
                  <a:pt x="105156" y="1143000"/>
                </a:moveTo>
                <a:lnTo>
                  <a:pt x="1524" y="1143000"/>
                </a:lnTo>
                <a:lnTo>
                  <a:pt x="0" y="1141476"/>
                </a:lnTo>
                <a:lnTo>
                  <a:pt x="0" y="3048"/>
                </a:lnTo>
                <a:lnTo>
                  <a:pt x="1524" y="0"/>
                </a:lnTo>
                <a:lnTo>
                  <a:pt x="105156" y="0"/>
                </a:lnTo>
                <a:lnTo>
                  <a:pt x="106680" y="3048"/>
                </a:lnTo>
                <a:lnTo>
                  <a:pt x="106680" y="6096"/>
                </a:lnTo>
                <a:lnTo>
                  <a:pt x="9144" y="6096"/>
                </a:lnTo>
                <a:lnTo>
                  <a:pt x="4572" y="10668"/>
                </a:lnTo>
                <a:lnTo>
                  <a:pt x="9144" y="10668"/>
                </a:lnTo>
                <a:lnTo>
                  <a:pt x="9144" y="1133856"/>
                </a:lnTo>
                <a:lnTo>
                  <a:pt x="4572" y="1133856"/>
                </a:lnTo>
                <a:lnTo>
                  <a:pt x="9144" y="1138428"/>
                </a:lnTo>
                <a:lnTo>
                  <a:pt x="106680" y="1138428"/>
                </a:lnTo>
                <a:lnTo>
                  <a:pt x="106680" y="1141476"/>
                </a:lnTo>
                <a:lnTo>
                  <a:pt x="105156" y="1143000"/>
                </a:lnTo>
                <a:close/>
              </a:path>
              <a:path w="106680" h="1143000">
                <a:moveTo>
                  <a:pt x="9144" y="10668"/>
                </a:moveTo>
                <a:lnTo>
                  <a:pt x="4572" y="10668"/>
                </a:lnTo>
                <a:lnTo>
                  <a:pt x="9144" y="6096"/>
                </a:lnTo>
                <a:lnTo>
                  <a:pt x="9144" y="10668"/>
                </a:lnTo>
                <a:close/>
              </a:path>
              <a:path w="106680" h="1143000">
                <a:moveTo>
                  <a:pt x="97536" y="10668"/>
                </a:moveTo>
                <a:lnTo>
                  <a:pt x="9144" y="10668"/>
                </a:lnTo>
                <a:lnTo>
                  <a:pt x="9144" y="6096"/>
                </a:lnTo>
                <a:lnTo>
                  <a:pt x="97536" y="6096"/>
                </a:lnTo>
                <a:lnTo>
                  <a:pt x="97536" y="10668"/>
                </a:lnTo>
                <a:close/>
              </a:path>
              <a:path w="106680" h="1143000">
                <a:moveTo>
                  <a:pt x="97536" y="1138428"/>
                </a:moveTo>
                <a:lnTo>
                  <a:pt x="97536" y="6096"/>
                </a:lnTo>
                <a:lnTo>
                  <a:pt x="102108" y="10668"/>
                </a:lnTo>
                <a:lnTo>
                  <a:pt x="106680" y="10668"/>
                </a:lnTo>
                <a:lnTo>
                  <a:pt x="106680" y="1133856"/>
                </a:lnTo>
                <a:lnTo>
                  <a:pt x="102108" y="1133856"/>
                </a:lnTo>
                <a:lnTo>
                  <a:pt x="97536" y="1138428"/>
                </a:lnTo>
                <a:close/>
              </a:path>
              <a:path w="106680" h="1143000">
                <a:moveTo>
                  <a:pt x="106680" y="10668"/>
                </a:moveTo>
                <a:lnTo>
                  <a:pt x="102108" y="10668"/>
                </a:lnTo>
                <a:lnTo>
                  <a:pt x="97536" y="6096"/>
                </a:lnTo>
                <a:lnTo>
                  <a:pt x="106680" y="6096"/>
                </a:lnTo>
                <a:lnTo>
                  <a:pt x="106680" y="10668"/>
                </a:lnTo>
                <a:close/>
              </a:path>
              <a:path w="106680" h="1143000">
                <a:moveTo>
                  <a:pt x="9144" y="1138428"/>
                </a:moveTo>
                <a:lnTo>
                  <a:pt x="4572" y="1133856"/>
                </a:lnTo>
                <a:lnTo>
                  <a:pt x="9144" y="1133856"/>
                </a:lnTo>
                <a:lnTo>
                  <a:pt x="9144" y="1138428"/>
                </a:lnTo>
                <a:close/>
              </a:path>
              <a:path w="106680" h="1143000">
                <a:moveTo>
                  <a:pt x="97536" y="1138428"/>
                </a:moveTo>
                <a:lnTo>
                  <a:pt x="9144" y="1138428"/>
                </a:lnTo>
                <a:lnTo>
                  <a:pt x="9144" y="1133856"/>
                </a:lnTo>
                <a:lnTo>
                  <a:pt x="97536" y="1133856"/>
                </a:lnTo>
                <a:lnTo>
                  <a:pt x="97536" y="1138428"/>
                </a:lnTo>
                <a:close/>
              </a:path>
              <a:path w="106680" h="1143000">
                <a:moveTo>
                  <a:pt x="106680" y="1138428"/>
                </a:moveTo>
                <a:lnTo>
                  <a:pt x="97536" y="1138428"/>
                </a:lnTo>
                <a:lnTo>
                  <a:pt x="102108" y="1133856"/>
                </a:lnTo>
                <a:lnTo>
                  <a:pt x="106680" y="1133856"/>
                </a:lnTo>
                <a:lnTo>
                  <a:pt x="106680" y="11384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4170381" y="4729330"/>
            <a:ext cx="86285" cy="999565"/>
          </a:xfrm>
          <a:custGeom>
            <a:avLst/>
            <a:gdLst/>
            <a:ahLst/>
            <a:cxnLst/>
            <a:rect l="l" t="t" r="r" b="b"/>
            <a:pathLst>
              <a:path w="97789" h="1132839">
                <a:moveTo>
                  <a:pt x="0" y="0"/>
                </a:moveTo>
                <a:lnTo>
                  <a:pt x="97536" y="0"/>
                </a:lnTo>
                <a:lnTo>
                  <a:pt x="97536" y="1132332"/>
                </a:lnTo>
                <a:lnTo>
                  <a:pt x="0" y="1132332"/>
                </a:lnTo>
                <a:lnTo>
                  <a:pt x="0" y="0"/>
                </a:lnTo>
                <a:close/>
              </a:path>
            </a:pathLst>
          </a:custGeom>
          <a:solidFill>
            <a:srgbClr val="FF9933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4166347" y="4725296"/>
            <a:ext cx="94129" cy="1007409"/>
          </a:xfrm>
          <a:custGeom>
            <a:avLst/>
            <a:gdLst/>
            <a:ahLst/>
            <a:cxnLst/>
            <a:rect l="l" t="t" r="r" b="b"/>
            <a:pathLst>
              <a:path w="106680" h="1141729">
                <a:moveTo>
                  <a:pt x="105156" y="1141476"/>
                </a:moveTo>
                <a:lnTo>
                  <a:pt x="1524" y="1141476"/>
                </a:lnTo>
                <a:lnTo>
                  <a:pt x="0" y="1139952"/>
                </a:lnTo>
                <a:lnTo>
                  <a:pt x="0" y="1524"/>
                </a:lnTo>
                <a:lnTo>
                  <a:pt x="1524" y="0"/>
                </a:lnTo>
                <a:lnTo>
                  <a:pt x="105156" y="0"/>
                </a:lnTo>
                <a:lnTo>
                  <a:pt x="106680" y="1524"/>
                </a:lnTo>
                <a:lnTo>
                  <a:pt x="106680" y="4572"/>
                </a:lnTo>
                <a:lnTo>
                  <a:pt x="9144" y="4572"/>
                </a:lnTo>
                <a:lnTo>
                  <a:pt x="4572" y="9144"/>
                </a:lnTo>
                <a:lnTo>
                  <a:pt x="9144" y="9144"/>
                </a:lnTo>
                <a:lnTo>
                  <a:pt x="9144" y="1132332"/>
                </a:lnTo>
                <a:lnTo>
                  <a:pt x="4572" y="1132332"/>
                </a:lnTo>
                <a:lnTo>
                  <a:pt x="9144" y="1136904"/>
                </a:lnTo>
                <a:lnTo>
                  <a:pt x="106680" y="1136904"/>
                </a:lnTo>
                <a:lnTo>
                  <a:pt x="106680" y="1139952"/>
                </a:lnTo>
                <a:lnTo>
                  <a:pt x="105156" y="1141476"/>
                </a:lnTo>
                <a:close/>
              </a:path>
              <a:path w="106680" h="1141729">
                <a:moveTo>
                  <a:pt x="9144" y="9144"/>
                </a:moveTo>
                <a:lnTo>
                  <a:pt x="4572" y="9144"/>
                </a:lnTo>
                <a:lnTo>
                  <a:pt x="9144" y="4572"/>
                </a:lnTo>
                <a:lnTo>
                  <a:pt x="9144" y="9144"/>
                </a:lnTo>
                <a:close/>
              </a:path>
              <a:path w="106680" h="1141729">
                <a:moveTo>
                  <a:pt x="97536" y="9144"/>
                </a:moveTo>
                <a:lnTo>
                  <a:pt x="9144" y="9144"/>
                </a:lnTo>
                <a:lnTo>
                  <a:pt x="9144" y="4572"/>
                </a:lnTo>
                <a:lnTo>
                  <a:pt x="97536" y="4572"/>
                </a:lnTo>
                <a:lnTo>
                  <a:pt x="97536" y="9144"/>
                </a:lnTo>
                <a:close/>
              </a:path>
              <a:path w="106680" h="1141729">
                <a:moveTo>
                  <a:pt x="97536" y="1136904"/>
                </a:moveTo>
                <a:lnTo>
                  <a:pt x="97536" y="4572"/>
                </a:lnTo>
                <a:lnTo>
                  <a:pt x="102108" y="9144"/>
                </a:lnTo>
                <a:lnTo>
                  <a:pt x="106680" y="9144"/>
                </a:lnTo>
                <a:lnTo>
                  <a:pt x="106680" y="1132332"/>
                </a:lnTo>
                <a:lnTo>
                  <a:pt x="102108" y="1132332"/>
                </a:lnTo>
                <a:lnTo>
                  <a:pt x="97536" y="1136904"/>
                </a:lnTo>
                <a:close/>
              </a:path>
              <a:path w="106680" h="1141729">
                <a:moveTo>
                  <a:pt x="106680" y="9144"/>
                </a:moveTo>
                <a:lnTo>
                  <a:pt x="102108" y="9144"/>
                </a:lnTo>
                <a:lnTo>
                  <a:pt x="97536" y="4572"/>
                </a:lnTo>
                <a:lnTo>
                  <a:pt x="106680" y="4572"/>
                </a:lnTo>
                <a:lnTo>
                  <a:pt x="106680" y="9144"/>
                </a:lnTo>
                <a:close/>
              </a:path>
              <a:path w="106680" h="1141729">
                <a:moveTo>
                  <a:pt x="9144" y="1136904"/>
                </a:moveTo>
                <a:lnTo>
                  <a:pt x="4572" y="1132332"/>
                </a:lnTo>
                <a:lnTo>
                  <a:pt x="9144" y="1132332"/>
                </a:lnTo>
                <a:lnTo>
                  <a:pt x="9144" y="1136904"/>
                </a:lnTo>
                <a:close/>
              </a:path>
              <a:path w="106680" h="1141729">
                <a:moveTo>
                  <a:pt x="97536" y="1136904"/>
                </a:moveTo>
                <a:lnTo>
                  <a:pt x="9144" y="1136904"/>
                </a:lnTo>
                <a:lnTo>
                  <a:pt x="9144" y="1132332"/>
                </a:lnTo>
                <a:lnTo>
                  <a:pt x="97536" y="1132332"/>
                </a:lnTo>
                <a:lnTo>
                  <a:pt x="97536" y="1136904"/>
                </a:lnTo>
                <a:close/>
              </a:path>
              <a:path w="106680" h="1141729">
                <a:moveTo>
                  <a:pt x="106680" y="1136904"/>
                </a:moveTo>
                <a:lnTo>
                  <a:pt x="97536" y="1136904"/>
                </a:lnTo>
                <a:lnTo>
                  <a:pt x="102108" y="1132332"/>
                </a:lnTo>
                <a:lnTo>
                  <a:pt x="106680" y="1132332"/>
                </a:lnTo>
                <a:lnTo>
                  <a:pt x="106680" y="113690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4532107" y="4727986"/>
            <a:ext cx="0" cy="999565"/>
          </a:xfrm>
          <a:custGeom>
            <a:avLst/>
            <a:gdLst/>
            <a:ahLst/>
            <a:cxnLst/>
            <a:rect l="l" t="t" r="r" b="b"/>
            <a:pathLst>
              <a:path h="1132839">
                <a:moveTo>
                  <a:pt x="0" y="0"/>
                </a:moveTo>
                <a:lnTo>
                  <a:pt x="0" y="1132332"/>
                </a:lnTo>
              </a:path>
            </a:pathLst>
          </a:custGeom>
          <a:ln w="579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4502524" y="4722607"/>
            <a:ext cx="59391" cy="1008529"/>
          </a:xfrm>
          <a:custGeom>
            <a:avLst/>
            <a:gdLst/>
            <a:ahLst/>
            <a:cxnLst/>
            <a:rect l="l" t="t" r="r" b="b"/>
            <a:pathLst>
              <a:path w="67310" h="1143000">
                <a:moveTo>
                  <a:pt x="65532" y="1143000"/>
                </a:moveTo>
                <a:lnTo>
                  <a:pt x="1524" y="1143000"/>
                </a:lnTo>
                <a:lnTo>
                  <a:pt x="0" y="1141476"/>
                </a:lnTo>
                <a:lnTo>
                  <a:pt x="0" y="3048"/>
                </a:lnTo>
                <a:lnTo>
                  <a:pt x="1524" y="0"/>
                </a:lnTo>
                <a:lnTo>
                  <a:pt x="65532" y="0"/>
                </a:lnTo>
                <a:lnTo>
                  <a:pt x="67056" y="3048"/>
                </a:lnTo>
                <a:lnTo>
                  <a:pt x="67056" y="6096"/>
                </a:lnTo>
                <a:lnTo>
                  <a:pt x="9144" y="6096"/>
                </a:lnTo>
                <a:lnTo>
                  <a:pt x="4572" y="10668"/>
                </a:lnTo>
                <a:lnTo>
                  <a:pt x="9144" y="10668"/>
                </a:lnTo>
                <a:lnTo>
                  <a:pt x="9144" y="1133856"/>
                </a:lnTo>
                <a:lnTo>
                  <a:pt x="4572" y="1133856"/>
                </a:lnTo>
                <a:lnTo>
                  <a:pt x="9144" y="1138428"/>
                </a:lnTo>
                <a:lnTo>
                  <a:pt x="67056" y="1138428"/>
                </a:lnTo>
                <a:lnTo>
                  <a:pt x="67056" y="1141476"/>
                </a:lnTo>
                <a:lnTo>
                  <a:pt x="65532" y="1143000"/>
                </a:lnTo>
                <a:close/>
              </a:path>
              <a:path w="67310" h="1143000">
                <a:moveTo>
                  <a:pt x="9144" y="10668"/>
                </a:moveTo>
                <a:lnTo>
                  <a:pt x="4572" y="10668"/>
                </a:lnTo>
                <a:lnTo>
                  <a:pt x="9144" y="6096"/>
                </a:lnTo>
                <a:lnTo>
                  <a:pt x="9144" y="10668"/>
                </a:lnTo>
                <a:close/>
              </a:path>
              <a:path w="67310" h="1143000">
                <a:moveTo>
                  <a:pt x="57912" y="10668"/>
                </a:moveTo>
                <a:lnTo>
                  <a:pt x="9144" y="10668"/>
                </a:lnTo>
                <a:lnTo>
                  <a:pt x="9144" y="6096"/>
                </a:lnTo>
                <a:lnTo>
                  <a:pt x="57912" y="6096"/>
                </a:lnTo>
                <a:lnTo>
                  <a:pt x="57912" y="10668"/>
                </a:lnTo>
                <a:close/>
              </a:path>
              <a:path w="67310" h="1143000">
                <a:moveTo>
                  <a:pt x="57912" y="1138428"/>
                </a:moveTo>
                <a:lnTo>
                  <a:pt x="57912" y="6096"/>
                </a:lnTo>
                <a:lnTo>
                  <a:pt x="62484" y="10668"/>
                </a:lnTo>
                <a:lnTo>
                  <a:pt x="67056" y="10668"/>
                </a:lnTo>
                <a:lnTo>
                  <a:pt x="67056" y="1133856"/>
                </a:lnTo>
                <a:lnTo>
                  <a:pt x="62484" y="1133856"/>
                </a:lnTo>
                <a:lnTo>
                  <a:pt x="57912" y="1138428"/>
                </a:lnTo>
                <a:close/>
              </a:path>
              <a:path w="67310" h="1143000">
                <a:moveTo>
                  <a:pt x="67056" y="10668"/>
                </a:moveTo>
                <a:lnTo>
                  <a:pt x="62484" y="10668"/>
                </a:lnTo>
                <a:lnTo>
                  <a:pt x="57912" y="6096"/>
                </a:lnTo>
                <a:lnTo>
                  <a:pt x="67056" y="6096"/>
                </a:lnTo>
                <a:lnTo>
                  <a:pt x="67056" y="10668"/>
                </a:lnTo>
                <a:close/>
              </a:path>
              <a:path w="67310" h="1143000">
                <a:moveTo>
                  <a:pt x="9144" y="1138428"/>
                </a:moveTo>
                <a:lnTo>
                  <a:pt x="4572" y="1133856"/>
                </a:lnTo>
                <a:lnTo>
                  <a:pt x="9144" y="1133856"/>
                </a:lnTo>
                <a:lnTo>
                  <a:pt x="9144" y="1138428"/>
                </a:lnTo>
                <a:close/>
              </a:path>
              <a:path w="67310" h="1143000">
                <a:moveTo>
                  <a:pt x="57912" y="1138428"/>
                </a:moveTo>
                <a:lnTo>
                  <a:pt x="9144" y="1138428"/>
                </a:lnTo>
                <a:lnTo>
                  <a:pt x="9144" y="1133856"/>
                </a:lnTo>
                <a:lnTo>
                  <a:pt x="57912" y="1133856"/>
                </a:lnTo>
                <a:lnTo>
                  <a:pt x="57912" y="1138428"/>
                </a:lnTo>
                <a:close/>
              </a:path>
              <a:path w="67310" h="1143000">
                <a:moveTo>
                  <a:pt x="67056" y="1138428"/>
                </a:moveTo>
                <a:lnTo>
                  <a:pt x="57912" y="1138428"/>
                </a:lnTo>
                <a:lnTo>
                  <a:pt x="62484" y="1133856"/>
                </a:lnTo>
                <a:lnTo>
                  <a:pt x="67056" y="1133856"/>
                </a:lnTo>
                <a:lnTo>
                  <a:pt x="67056" y="11384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4561691" y="4729330"/>
            <a:ext cx="86285" cy="999565"/>
          </a:xfrm>
          <a:custGeom>
            <a:avLst/>
            <a:gdLst/>
            <a:ahLst/>
            <a:cxnLst/>
            <a:rect l="l" t="t" r="r" b="b"/>
            <a:pathLst>
              <a:path w="97789" h="1132839">
                <a:moveTo>
                  <a:pt x="0" y="0"/>
                </a:moveTo>
                <a:lnTo>
                  <a:pt x="97536" y="0"/>
                </a:lnTo>
                <a:lnTo>
                  <a:pt x="97536" y="1132332"/>
                </a:lnTo>
                <a:lnTo>
                  <a:pt x="0" y="1132332"/>
                </a:lnTo>
                <a:lnTo>
                  <a:pt x="0" y="0"/>
                </a:lnTo>
                <a:close/>
              </a:path>
            </a:pathLst>
          </a:custGeom>
          <a:solidFill>
            <a:srgbClr val="BFBFBF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4557657" y="4725296"/>
            <a:ext cx="94129" cy="1007409"/>
          </a:xfrm>
          <a:custGeom>
            <a:avLst/>
            <a:gdLst/>
            <a:ahLst/>
            <a:cxnLst/>
            <a:rect l="l" t="t" r="r" b="b"/>
            <a:pathLst>
              <a:path w="106679" h="1141729">
                <a:moveTo>
                  <a:pt x="103632" y="1141476"/>
                </a:moveTo>
                <a:lnTo>
                  <a:pt x="1524" y="1141476"/>
                </a:lnTo>
                <a:lnTo>
                  <a:pt x="0" y="1139952"/>
                </a:lnTo>
                <a:lnTo>
                  <a:pt x="0" y="1524"/>
                </a:lnTo>
                <a:lnTo>
                  <a:pt x="1524" y="0"/>
                </a:lnTo>
                <a:lnTo>
                  <a:pt x="103632" y="0"/>
                </a:lnTo>
                <a:lnTo>
                  <a:pt x="106680" y="1524"/>
                </a:lnTo>
                <a:lnTo>
                  <a:pt x="106680" y="4572"/>
                </a:lnTo>
                <a:lnTo>
                  <a:pt x="9144" y="4572"/>
                </a:lnTo>
                <a:lnTo>
                  <a:pt x="4572" y="9144"/>
                </a:lnTo>
                <a:lnTo>
                  <a:pt x="9144" y="9144"/>
                </a:lnTo>
                <a:lnTo>
                  <a:pt x="9144" y="1132332"/>
                </a:lnTo>
                <a:lnTo>
                  <a:pt x="4572" y="1132332"/>
                </a:lnTo>
                <a:lnTo>
                  <a:pt x="9144" y="1136904"/>
                </a:lnTo>
                <a:lnTo>
                  <a:pt x="106680" y="1136904"/>
                </a:lnTo>
                <a:lnTo>
                  <a:pt x="106680" y="1139952"/>
                </a:lnTo>
                <a:lnTo>
                  <a:pt x="103632" y="1141476"/>
                </a:lnTo>
                <a:close/>
              </a:path>
              <a:path w="106679" h="1141729">
                <a:moveTo>
                  <a:pt x="9144" y="9144"/>
                </a:moveTo>
                <a:lnTo>
                  <a:pt x="4572" y="9144"/>
                </a:lnTo>
                <a:lnTo>
                  <a:pt x="9144" y="4572"/>
                </a:lnTo>
                <a:lnTo>
                  <a:pt x="9144" y="9144"/>
                </a:lnTo>
                <a:close/>
              </a:path>
              <a:path w="106679" h="1141729">
                <a:moveTo>
                  <a:pt x="97536" y="9144"/>
                </a:moveTo>
                <a:lnTo>
                  <a:pt x="9144" y="9144"/>
                </a:lnTo>
                <a:lnTo>
                  <a:pt x="9144" y="4572"/>
                </a:lnTo>
                <a:lnTo>
                  <a:pt x="97536" y="4572"/>
                </a:lnTo>
                <a:lnTo>
                  <a:pt x="97536" y="9144"/>
                </a:lnTo>
                <a:close/>
              </a:path>
              <a:path w="106679" h="1141729">
                <a:moveTo>
                  <a:pt x="97536" y="1136904"/>
                </a:moveTo>
                <a:lnTo>
                  <a:pt x="97536" y="4572"/>
                </a:lnTo>
                <a:lnTo>
                  <a:pt x="102108" y="9144"/>
                </a:lnTo>
                <a:lnTo>
                  <a:pt x="106680" y="9144"/>
                </a:lnTo>
                <a:lnTo>
                  <a:pt x="106680" y="1132332"/>
                </a:lnTo>
                <a:lnTo>
                  <a:pt x="102108" y="1132332"/>
                </a:lnTo>
                <a:lnTo>
                  <a:pt x="97536" y="1136904"/>
                </a:lnTo>
                <a:close/>
              </a:path>
              <a:path w="106679" h="1141729">
                <a:moveTo>
                  <a:pt x="106680" y="9144"/>
                </a:moveTo>
                <a:lnTo>
                  <a:pt x="102108" y="9144"/>
                </a:lnTo>
                <a:lnTo>
                  <a:pt x="97536" y="4572"/>
                </a:lnTo>
                <a:lnTo>
                  <a:pt x="106680" y="4572"/>
                </a:lnTo>
                <a:lnTo>
                  <a:pt x="106680" y="9144"/>
                </a:lnTo>
                <a:close/>
              </a:path>
              <a:path w="106679" h="1141729">
                <a:moveTo>
                  <a:pt x="9144" y="1136904"/>
                </a:moveTo>
                <a:lnTo>
                  <a:pt x="4572" y="1132332"/>
                </a:lnTo>
                <a:lnTo>
                  <a:pt x="9144" y="1132332"/>
                </a:lnTo>
                <a:lnTo>
                  <a:pt x="9144" y="1136904"/>
                </a:lnTo>
                <a:close/>
              </a:path>
              <a:path w="106679" h="1141729">
                <a:moveTo>
                  <a:pt x="97536" y="1136904"/>
                </a:moveTo>
                <a:lnTo>
                  <a:pt x="9144" y="1136904"/>
                </a:lnTo>
                <a:lnTo>
                  <a:pt x="9144" y="1132332"/>
                </a:lnTo>
                <a:lnTo>
                  <a:pt x="97536" y="1132332"/>
                </a:lnTo>
                <a:lnTo>
                  <a:pt x="97536" y="1136904"/>
                </a:lnTo>
                <a:close/>
              </a:path>
              <a:path w="106679" h="1141729">
                <a:moveTo>
                  <a:pt x="106680" y="1136904"/>
                </a:moveTo>
                <a:lnTo>
                  <a:pt x="97536" y="1136904"/>
                </a:lnTo>
                <a:lnTo>
                  <a:pt x="102108" y="1132332"/>
                </a:lnTo>
                <a:lnTo>
                  <a:pt x="106680" y="1132332"/>
                </a:lnTo>
                <a:lnTo>
                  <a:pt x="106680" y="113690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4412428" y="4721262"/>
            <a:ext cx="85165" cy="999565"/>
          </a:xfrm>
          <a:custGeom>
            <a:avLst/>
            <a:gdLst/>
            <a:ahLst/>
            <a:cxnLst/>
            <a:rect l="l" t="t" r="r" b="b"/>
            <a:pathLst>
              <a:path w="96519" h="1132839">
                <a:moveTo>
                  <a:pt x="0" y="0"/>
                </a:moveTo>
                <a:lnTo>
                  <a:pt x="96012" y="0"/>
                </a:lnTo>
                <a:lnTo>
                  <a:pt x="96012" y="1132332"/>
                </a:lnTo>
                <a:lnTo>
                  <a:pt x="0" y="1132332"/>
                </a:lnTo>
                <a:lnTo>
                  <a:pt x="0" y="0"/>
                </a:lnTo>
                <a:close/>
              </a:path>
            </a:pathLst>
          </a:custGeom>
          <a:solidFill>
            <a:srgbClr val="FF9933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4407049" y="4717227"/>
            <a:ext cx="95810" cy="1007409"/>
          </a:xfrm>
          <a:custGeom>
            <a:avLst/>
            <a:gdLst/>
            <a:ahLst/>
            <a:cxnLst/>
            <a:rect l="l" t="t" r="r" b="b"/>
            <a:pathLst>
              <a:path w="108585" h="1141729">
                <a:moveTo>
                  <a:pt x="105156" y="1141476"/>
                </a:moveTo>
                <a:lnTo>
                  <a:pt x="3048" y="1141476"/>
                </a:lnTo>
                <a:lnTo>
                  <a:pt x="0" y="1139952"/>
                </a:lnTo>
                <a:lnTo>
                  <a:pt x="0" y="1524"/>
                </a:lnTo>
                <a:lnTo>
                  <a:pt x="3048" y="0"/>
                </a:lnTo>
                <a:lnTo>
                  <a:pt x="105156" y="0"/>
                </a:lnTo>
                <a:lnTo>
                  <a:pt x="108204" y="1524"/>
                </a:lnTo>
                <a:lnTo>
                  <a:pt x="108204" y="4572"/>
                </a:lnTo>
                <a:lnTo>
                  <a:pt x="10668" y="4572"/>
                </a:lnTo>
                <a:lnTo>
                  <a:pt x="6096" y="9144"/>
                </a:lnTo>
                <a:lnTo>
                  <a:pt x="10668" y="9144"/>
                </a:lnTo>
                <a:lnTo>
                  <a:pt x="10668" y="1132332"/>
                </a:lnTo>
                <a:lnTo>
                  <a:pt x="6096" y="1132332"/>
                </a:lnTo>
                <a:lnTo>
                  <a:pt x="10668" y="1136904"/>
                </a:lnTo>
                <a:lnTo>
                  <a:pt x="108204" y="1136904"/>
                </a:lnTo>
                <a:lnTo>
                  <a:pt x="108204" y="1139952"/>
                </a:lnTo>
                <a:lnTo>
                  <a:pt x="105156" y="1141476"/>
                </a:lnTo>
                <a:close/>
              </a:path>
              <a:path w="108585" h="1141729">
                <a:moveTo>
                  <a:pt x="10668" y="9144"/>
                </a:moveTo>
                <a:lnTo>
                  <a:pt x="6096" y="9144"/>
                </a:lnTo>
                <a:lnTo>
                  <a:pt x="10668" y="4572"/>
                </a:lnTo>
                <a:lnTo>
                  <a:pt x="10668" y="9144"/>
                </a:lnTo>
                <a:close/>
              </a:path>
              <a:path w="108585" h="1141729">
                <a:moveTo>
                  <a:pt x="97536" y="9144"/>
                </a:moveTo>
                <a:lnTo>
                  <a:pt x="10668" y="9144"/>
                </a:lnTo>
                <a:lnTo>
                  <a:pt x="10668" y="4572"/>
                </a:lnTo>
                <a:lnTo>
                  <a:pt x="97536" y="4572"/>
                </a:lnTo>
                <a:lnTo>
                  <a:pt x="97536" y="9144"/>
                </a:lnTo>
                <a:close/>
              </a:path>
              <a:path w="108585" h="1141729">
                <a:moveTo>
                  <a:pt x="97536" y="1136904"/>
                </a:moveTo>
                <a:lnTo>
                  <a:pt x="97536" y="4572"/>
                </a:lnTo>
                <a:lnTo>
                  <a:pt x="102108" y="9144"/>
                </a:lnTo>
                <a:lnTo>
                  <a:pt x="108204" y="9144"/>
                </a:lnTo>
                <a:lnTo>
                  <a:pt x="108204" y="1132332"/>
                </a:lnTo>
                <a:lnTo>
                  <a:pt x="102108" y="1132332"/>
                </a:lnTo>
                <a:lnTo>
                  <a:pt x="97536" y="1136904"/>
                </a:lnTo>
                <a:close/>
              </a:path>
              <a:path w="108585" h="1141729">
                <a:moveTo>
                  <a:pt x="108204" y="9144"/>
                </a:moveTo>
                <a:lnTo>
                  <a:pt x="102108" y="9144"/>
                </a:lnTo>
                <a:lnTo>
                  <a:pt x="97536" y="4572"/>
                </a:lnTo>
                <a:lnTo>
                  <a:pt x="108204" y="4572"/>
                </a:lnTo>
                <a:lnTo>
                  <a:pt x="108204" y="9144"/>
                </a:lnTo>
                <a:close/>
              </a:path>
              <a:path w="108585" h="1141729">
                <a:moveTo>
                  <a:pt x="10668" y="1136904"/>
                </a:moveTo>
                <a:lnTo>
                  <a:pt x="6096" y="1132332"/>
                </a:lnTo>
                <a:lnTo>
                  <a:pt x="10668" y="1132332"/>
                </a:lnTo>
                <a:lnTo>
                  <a:pt x="10668" y="1136904"/>
                </a:lnTo>
                <a:close/>
              </a:path>
              <a:path w="108585" h="1141729">
                <a:moveTo>
                  <a:pt x="97536" y="1136904"/>
                </a:moveTo>
                <a:lnTo>
                  <a:pt x="10668" y="1136904"/>
                </a:lnTo>
                <a:lnTo>
                  <a:pt x="10668" y="1132332"/>
                </a:lnTo>
                <a:lnTo>
                  <a:pt x="97536" y="1132332"/>
                </a:lnTo>
                <a:lnTo>
                  <a:pt x="97536" y="1136904"/>
                </a:lnTo>
                <a:close/>
              </a:path>
              <a:path w="108585" h="1141729">
                <a:moveTo>
                  <a:pt x="108204" y="1136904"/>
                </a:moveTo>
                <a:lnTo>
                  <a:pt x="97536" y="1136904"/>
                </a:lnTo>
                <a:lnTo>
                  <a:pt x="102108" y="1132332"/>
                </a:lnTo>
                <a:lnTo>
                  <a:pt x="108204" y="1132332"/>
                </a:lnTo>
                <a:lnTo>
                  <a:pt x="108204" y="113690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3502735" y="4694368"/>
            <a:ext cx="0" cy="1000685"/>
          </a:xfrm>
          <a:custGeom>
            <a:avLst/>
            <a:gdLst/>
            <a:ahLst/>
            <a:cxnLst/>
            <a:rect l="l" t="t" r="r" b="b"/>
            <a:pathLst>
              <a:path h="1134110">
                <a:moveTo>
                  <a:pt x="0" y="0"/>
                </a:moveTo>
                <a:lnTo>
                  <a:pt x="0" y="1133856"/>
                </a:lnTo>
              </a:path>
            </a:pathLst>
          </a:custGeom>
          <a:ln w="5638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3472479" y="4690333"/>
            <a:ext cx="59391" cy="1008529"/>
          </a:xfrm>
          <a:custGeom>
            <a:avLst/>
            <a:gdLst/>
            <a:ahLst/>
            <a:cxnLst/>
            <a:rect l="l" t="t" r="r" b="b"/>
            <a:pathLst>
              <a:path w="67310" h="1143000">
                <a:moveTo>
                  <a:pt x="64008" y="1143000"/>
                </a:moveTo>
                <a:lnTo>
                  <a:pt x="1524" y="1143000"/>
                </a:lnTo>
                <a:lnTo>
                  <a:pt x="0" y="1139952"/>
                </a:lnTo>
                <a:lnTo>
                  <a:pt x="0" y="3048"/>
                </a:lnTo>
                <a:lnTo>
                  <a:pt x="1524" y="0"/>
                </a:lnTo>
                <a:lnTo>
                  <a:pt x="64008" y="0"/>
                </a:lnTo>
                <a:lnTo>
                  <a:pt x="67056" y="3048"/>
                </a:lnTo>
                <a:lnTo>
                  <a:pt x="67056" y="4572"/>
                </a:lnTo>
                <a:lnTo>
                  <a:pt x="9144" y="4572"/>
                </a:lnTo>
                <a:lnTo>
                  <a:pt x="4572" y="9144"/>
                </a:lnTo>
                <a:lnTo>
                  <a:pt x="9144" y="9144"/>
                </a:lnTo>
                <a:lnTo>
                  <a:pt x="9144" y="1133856"/>
                </a:lnTo>
                <a:lnTo>
                  <a:pt x="4572" y="1133856"/>
                </a:lnTo>
                <a:lnTo>
                  <a:pt x="9144" y="1138428"/>
                </a:lnTo>
                <a:lnTo>
                  <a:pt x="67056" y="1138428"/>
                </a:lnTo>
                <a:lnTo>
                  <a:pt x="67056" y="1139952"/>
                </a:lnTo>
                <a:lnTo>
                  <a:pt x="64008" y="1143000"/>
                </a:lnTo>
                <a:close/>
              </a:path>
              <a:path w="67310" h="1143000">
                <a:moveTo>
                  <a:pt x="9144" y="9144"/>
                </a:moveTo>
                <a:lnTo>
                  <a:pt x="4572" y="9144"/>
                </a:lnTo>
                <a:lnTo>
                  <a:pt x="9144" y="4572"/>
                </a:lnTo>
                <a:lnTo>
                  <a:pt x="9144" y="9144"/>
                </a:lnTo>
                <a:close/>
              </a:path>
              <a:path w="67310" h="1143000">
                <a:moveTo>
                  <a:pt x="57912" y="9144"/>
                </a:moveTo>
                <a:lnTo>
                  <a:pt x="9144" y="9144"/>
                </a:lnTo>
                <a:lnTo>
                  <a:pt x="9144" y="4572"/>
                </a:lnTo>
                <a:lnTo>
                  <a:pt x="57912" y="4572"/>
                </a:lnTo>
                <a:lnTo>
                  <a:pt x="57912" y="9144"/>
                </a:lnTo>
                <a:close/>
              </a:path>
              <a:path w="67310" h="1143000">
                <a:moveTo>
                  <a:pt x="57912" y="1138428"/>
                </a:moveTo>
                <a:lnTo>
                  <a:pt x="57912" y="4572"/>
                </a:lnTo>
                <a:lnTo>
                  <a:pt x="62484" y="9144"/>
                </a:lnTo>
                <a:lnTo>
                  <a:pt x="67056" y="9144"/>
                </a:lnTo>
                <a:lnTo>
                  <a:pt x="67056" y="1133856"/>
                </a:lnTo>
                <a:lnTo>
                  <a:pt x="62484" y="1133856"/>
                </a:lnTo>
                <a:lnTo>
                  <a:pt x="57912" y="1138428"/>
                </a:lnTo>
                <a:close/>
              </a:path>
              <a:path w="67310" h="1143000">
                <a:moveTo>
                  <a:pt x="67056" y="9144"/>
                </a:moveTo>
                <a:lnTo>
                  <a:pt x="62484" y="9144"/>
                </a:lnTo>
                <a:lnTo>
                  <a:pt x="57912" y="4572"/>
                </a:lnTo>
                <a:lnTo>
                  <a:pt x="67056" y="4572"/>
                </a:lnTo>
                <a:lnTo>
                  <a:pt x="67056" y="9144"/>
                </a:lnTo>
                <a:close/>
              </a:path>
              <a:path w="67310" h="1143000">
                <a:moveTo>
                  <a:pt x="9144" y="1138428"/>
                </a:moveTo>
                <a:lnTo>
                  <a:pt x="4572" y="1133856"/>
                </a:lnTo>
                <a:lnTo>
                  <a:pt x="9144" y="1133856"/>
                </a:lnTo>
                <a:lnTo>
                  <a:pt x="9144" y="1138428"/>
                </a:lnTo>
                <a:close/>
              </a:path>
              <a:path w="67310" h="1143000">
                <a:moveTo>
                  <a:pt x="57912" y="1138428"/>
                </a:moveTo>
                <a:lnTo>
                  <a:pt x="9144" y="1138428"/>
                </a:lnTo>
                <a:lnTo>
                  <a:pt x="9144" y="1133856"/>
                </a:lnTo>
                <a:lnTo>
                  <a:pt x="57912" y="1133856"/>
                </a:lnTo>
                <a:lnTo>
                  <a:pt x="57912" y="1138428"/>
                </a:lnTo>
                <a:close/>
              </a:path>
              <a:path w="67310" h="1143000">
                <a:moveTo>
                  <a:pt x="67056" y="1138428"/>
                </a:moveTo>
                <a:lnTo>
                  <a:pt x="57912" y="1138428"/>
                </a:lnTo>
                <a:lnTo>
                  <a:pt x="62484" y="1133856"/>
                </a:lnTo>
                <a:lnTo>
                  <a:pt x="67056" y="1133856"/>
                </a:lnTo>
                <a:lnTo>
                  <a:pt x="67056" y="11384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3530302" y="4695713"/>
            <a:ext cx="230281" cy="1000685"/>
          </a:xfrm>
          <a:custGeom>
            <a:avLst/>
            <a:gdLst/>
            <a:ahLst/>
            <a:cxnLst/>
            <a:rect l="l" t="t" r="r" b="b"/>
            <a:pathLst>
              <a:path w="260985" h="1134110">
                <a:moveTo>
                  <a:pt x="0" y="0"/>
                </a:moveTo>
                <a:lnTo>
                  <a:pt x="260604" y="0"/>
                </a:lnTo>
                <a:lnTo>
                  <a:pt x="260604" y="1133856"/>
                </a:lnTo>
                <a:lnTo>
                  <a:pt x="0" y="1133856"/>
                </a:lnTo>
                <a:lnTo>
                  <a:pt x="0" y="0"/>
                </a:lnTo>
                <a:close/>
              </a:path>
            </a:pathLst>
          </a:custGeom>
          <a:solidFill>
            <a:srgbClr val="A5A5A5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3526267" y="4691678"/>
            <a:ext cx="238125" cy="1008529"/>
          </a:xfrm>
          <a:custGeom>
            <a:avLst/>
            <a:gdLst/>
            <a:ahLst/>
            <a:cxnLst/>
            <a:rect l="l" t="t" r="r" b="b"/>
            <a:pathLst>
              <a:path w="269875" h="1143000">
                <a:moveTo>
                  <a:pt x="268224" y="1143000"/>
                </a:moveTo>
                <a:lnTo>
                  <a:pt x="3048" y="1143000"/>
                </a:lnTo>
                <a:lnTo>
                  <a:pt x="0" y="1141476"/>
                </a:lnTo>
                <a:lnTo>
                  <a:pt x="0" y="3048"/>
                </a:lnTo>
                <a:lnTo>
                  <a:pt x="3048" y="0"/>
                </a:lnTo>
                <a:lnTo>
                  <a:pt x="268224" y="0"/>
                </a:lnTo>
                <a:lnTo>
                  <a:pt x="269748" y="3048"/>
                </a:lnTo>
                <a:lnTo>
                  <a:pt x="269748" y="4572"/>
                </a:lnTo>
                <a:lnTo>
                  <a:pt x="10668" y="4572"/>
                </a:lnTo>
                <a:lnTo>
                  <a:pt x="4572" y="10668"/>
                </a:lnTo>
                <a:lnTo>
                  <a:pt x="10668" y="10668"/>
                </a:lnTo>
                <a:lnTo>
                  <a:pt x="10668" y="1133856"/>
                </a:lnTo>
                <a:lnTo>
                  <a:pt x="4572" y="1133856"/>
                </a:lnTo>
                <a:lnTo>
                  <a:pt x="10668" y="1138428"/>
                </a:lnTo>
                <a:lnTo>
                  <a:pt x="269748" y="1138428"/>
                </a:lnTo>
                <a:lnTo>
                  <a:pt x="269748" y="1141476"/>
                </a:lnTo>
                <a:lnTo>
                  <a:pt x="268224" y="1143000"/>
                </a:lnTo>
                <a:close/>
              </a:path>
              <a:path w="269875" h="1143000">
                <a:moveTo>
                  <a:pt x="10668" y="10668"/>
                </a:moveTo>
                <a:lnTo>
                  <a:pt x="4572" y="10668"/>
                </a:lnTo>
                <a:lnTo>
                  <a:pt x="10668" y="4572"/>
                </a:lnTo>
                <a:lnTo>
                  <a:pt x="10668" y="10668"/>
                </a:lnTo>
                <a:close/>
              </a:path>
              <a:path w="269875" h="1143000">
                <a:moveTo>
                  <a:pt x="260604" y="10668"/>
                </a:moveTo>
                <a:lnTo>
                  <a:pt x="10668" y="10668"/>
                </a:lnTo>
                <a:lnTo>
                  <a:pt x="10668" y="4572"/>
                </a:lnTo>
                <a:lnTo>
                  <a:pt x="260604" y="4572"/>
                </a:lnTo>
                <a:lnTo>
                  <a:pt x="260604" y="10668"/>
                </a:lnTo>
                <a:close/>
              </a:path>
              <a:path w="269875" h="1143000">
                <a:moveTo>
                  <a:pt x="260604" y="1138428"/>
                </a:moveTo>
                <a:lnTo>
                  <a:pt x="260604" y="4572"/>
                </a:lnTo>
                <a:lnTo>
                  <a:pt x="265176" y="10668"/>
                </a:lnTo>
                <a:lnTo>
                  <a:pt x="269748" y="10668"/>
                </a:lnTo>
                <a:lnTo>
                  <a:pt x="269748" y="1133856"/>
                </a:lnTo>
                <a:lnTo>
                  <a:pt x="265176" y="1133856"/>
                </a:lnTo>
                <a:lnTo>
                  <a:pt x="260604" y="1138428"/>
                </a:lnTo>
                <a:close/>
              </a:path>
              <a:path w="269875" h="1143000">
                <a:moveTo>
                  <a:pt x="269748" y="10668"/>
                </a:moveTo>
                <a:lnTo>
                  <a:pt x="265176" y="10668"/>
                </a:lnTo>
                <a:lnTo>
                  <a:pt x="260604" y="4572"/>
                </a:lnTo>
                <a:lnTo>
                  <a:pt x="269748" y="4572"/>
                </a:lnTo>
                <a:lnTo>
                  <a:pt x="269748" y="10668"/>
                </a:lnTo>
                <a:close/>
              </a:path>
              <a:path w="269875" h="1143000">
                <a:moveTo>
                  <a:pt x="10668" y="1138428"/>
                </a:moveTo>
                <a:lnTo>
                  <a:pt x="4572" y="1133856"/>
                </a:lnTo>
                <a:lnTo>
                  <a:pt x="10668" y="1133856"/>
                </a:lnTo>
                <a:lnTo>
                  <a:pt x="10668" y="1138428"/>
                </a:lnTo>
                <a:close/>
              </a:path>
              <a:path w="269875" h="1143000">
                <a:moveTo>
                  <a:pt x="260604" y="1138428"/>
                </a:moveTo>
                <a:lnTo>
                  <a:pt x="10668" y="1138428"/>
                </a:lnTo>
                <a:lnTo>
                  <a:pt x="10668" y="1133856"/>
                </a:lnTo>
                <a:lnTo>
                  <a:pt x="260604" y="1133856"/>
                </a:lnTo>
                <a:lnTo>
                  <a:pt x="260604" y="1138428"/>
                </a:lnTo>
                <a:close/>
              </a:path>
              <a:path w="269875" h="1143000">
                <a:moveTo>
                  <a:pt x="269748" y="1138428"/>
                </a:moveTo>
                <a:lnTo>
                  <a:pt x="260604" y="1138428"/>
                </a:lnTo>
                <a:lnTo>
                  <a:pt x="265176" y="1133856"/>
                </a:lnTo>
                <a:lnTo>
                  <a:pt x="269748" y="1133856"/>
                </a:lnTo>
                <a:lnTo>
                  <a:pt x="269748" y="11384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3247913" y="4698401"/>
            <a:ext cx="230281" cy="999565"/>
          </a:xfrm>
          <a:custGeom>
            <a:avLst/>
            <a:gdLst/>
            <a:ahLst/>
            <a:cxnLst/>
            <a:rect l="l" t="t" r="r" b="b"/>
            <a:pathLst>
              <a:path w="260985" h="1132839">
                <a:moveTo>
                  <a:pt x="0" y="0"/>
                </a:moveTo>
                <a:lnTo>
                  <a:pt x="260604" y="0"/>
                </a:lnTo>
                <a:lnTo>
                  <a:pt x="260604" y="1132332"/>
                </a:lnTo>
                <a:lnTo>
                  <a:pt x="0" y="1132332"/>
                </a:lnTo>
                <a:lnTo>
                  <a:pt x="0" y="0"/>
                </a:lnTo>
                <a:close/>
              </a:path>
            </a:pathLst>
          </a:custGeom>
          <a:solidFill>
            <a:srgbClr val="FF9933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3243878" y="4694368"/>
            <a:ext cx="238125" cy="1007409"/>
          </a:xfrm>
          <a:custGeom>
            <a:avLst/>
            <a:gdLst/>
            <a:ahLst/>
            <a:cxnLst/>
            <a:rect l="l" t="t" r="r" b="b"/>
            <a:pathLst>
              <a:path w="269875" h="1141729">
                <a:moveTo>
                  <a:pt x="268224" y="1141476"/>
                </a:moveTo>
                <a:lnTo>
                  <a:pt x="1524" y="1141476"/>
                </a:lnTo>
                <a:lnTo>
                  <a:pt x="0" y="1139952"/>
                </a:lnTo>
                <a:lnTo>
                  <a:pt x="0" y="1524"/>
                </a:lnTo>
                <a:lnTo>
                  <a:pt x="1524" y="0"/>
                </a:lnTo>
                <a:lnTo>
                  <a:pt x="268224" y="0"/>
                </a:lnTo>
                <a:lnTo>
                  <a:pt x="269748" y="1524"/>
                </a:lnTo>
                <a:lnTo>
                  <a:pt x="269748" y="4572"/>
                </a:lnTo>
                <a:lnTo>
                  <a:pt x="9144" y="4572"/>
                </a:lnTo>
                <a:lnTo>
                  <a:pt x="4572" y="9144"/>
                </a:lnTo>
                <a:lnTo>
                  <a:pt x="9144" y="9144"/>
                </a:lnTo>
                <a:lnTo>
                  <a:pt x="9144" y="1132332"/>
                </a:lnTo>
                <a:lnTo>
                  <a:pt x="4572" y="1132332"/>
                </a:lnTo>
                <a:lnTo>
                  <a:pt x="9144" y="1136904"/>
                </a:lnTo>
                <a:lnTo>
                  <a:pt x="269748" y="1136904"/>
                </a:lnTo>
                <a:lnTo>
                  <a:pt x="269748" y="1139952"/>
                </a:lnTo>
                <a:lnTo>
                  <a:pt x="268224" y="1141476"/>
                </a:lnTo>
                <a:close/>
              </a:path>
              <a:path w="269875" h="1141729">
                <a:moveTo>
                  <a:pt x="9144" y="9144"/>
                </a:moveTo>
                <a:lnTo>
                  <a:pt x="4572" y="9144"/>
                </a:lnTo>
                <a:lnTo>
                  <a:pt x="9144" y="4572"/>
                </a:lnTo>
                <a:lnTo>
                  <a:pt x="9144" y="9144"/>
                </a:lnTo>
                <a:close/>
              </a:path>
              <a:path w="269875" h="1141729">
                <a:moveTo>
                  <a:pt x="260604" y="9144"/>
                </a:moveTo>
                <a:lnTo>
                  <a:pt x="9144" y="9144"/>
                </a:lnTo>
                <a:lnTo>
                  <a:pt x="9144" y="4572"/>
                </a:lnTo>
                <a:lnTo>
                  <a:pt x="260604" y="4572"/>
                </a:lnTo>
                <a:lnTo>
                  <a:pt x="260604" y="9144"/>
                </a:lnTo>
                <a:close/>
              </a:path>
              <a:path w="269875" h="1141729">
                <a:moveTo>
                  <a:pt x="260604" y="1136904"/>
                </a:moveTo>
                <a:lnTo>
                  <a:pt x="260604" y="4572"/>
                </a:lnTo>
                <a:lnTo>
                  <a:pt x="265176" y="9144"/>
                </a:lnTo>
                <a:lnTo>
                  <a:pt x="269748" y="9144"/>
                </a:lnTo>
                <a:lnTo>
                  <a:pt x="269748" y="1132332"/>
                </a:lnTo>
                <a:lnTo>
                  <a:pt x="265176" y="1132332"/>
                </a:lnTo>
                <a:lnTo>
                  <a:pt x="260604" y="1136904"/>
                </a:lnTo>
                <a:close/>
              </a:path>
              <a:path w="269875" h="1141729">
                <a:moveTo>
                  <a:pt x="269748" y="9144"/>
                </a:moveTo>
                <a:lnTo>
                  <a:pt x="265176" y="9144"/>
                </a:lnTo>
                <a:lnTo>
                  <a:pt x="260604" y="4572"/>
                </a:lnTo>
                <a:lnTo>
                  <a:pt x="269748" y="4572"/>
                </a:lnTo>
                <a:lnTo>
                  <a:pt x="269748" y="9144"/>
                </a:lnTo>
                <a:close/>
              </a:path>
              <a:path w="269875" h="1141729">
                <a:moveTo>
                  <a:pt x="9144" y="1136904"/>
                </a:moveTo>
                <a:lnTo>
                  <a:pt x="4572" y="1132332"/>
                </a:lnTo>
                <a:lnTo>
                  <a:pt x="9144" y="1132332"/>
                </a:lnTo>
                <a:lnTo>
                  <a:pt x="9144" y="1136904"/>
                </a:lnTo>
                <a:close/>
              </a:path>
              <a:path w="269875" h="1141729">
                <a:moveTo>
                  <a:pt x="260604" y="1136904"/>
                </a:moveTo>
                <a:lnTo>
                  <a:pt x="9144" y="1136904"/>
                </a:lnTo>
                <a:lnTo>
                  <a:pt x="9144" y="1132332"/>
                </a:lnTo>
                <a:lnTo>
                  <a:pt x="260604" y="1132332"/>
                </a:lnTo>
                <a:lnTo>
                  <a:pt x="260604" y="1136904"/>
                </a:lnTo>
                <a:close/>
              </a:path>
              <a:path w="269875" h="1141729">
                <a:moveTo>
                  <a:pt x="269748" y="1136904"/>
                </a:moveTo>
                <a:lnTo>
                  <a:pt x="260604" y="1136904"/>
                </a:lnTo>
                <a:lnTo>
                  <a:pt x="265176" y="1132332"/>
                </a:lnTo>
                <a:lnTo>
                  <a:pt x="269748" y="1132332"/>
                </a:lnTo>
                <a:lnTo>
                  <a:pt x="269748" y="113690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2316899" y="1580942"/>
            <a:ext cx="7421656" cy="3577917"/>
          </a:xfrm>
          <a:prstGeom prst="rect">
            <a:avLst/>
          </a:prstGeom>
        </p:spPr>
        <p:txBody>
          <a:bodyPr vert="horz" wrap="square" lIns="0" tIns="24652" rIns="0" bIns="0" rtlCol="0">
            <a:spAutoFit/>
          </a:bodyPr>
          <a:lstStyle/>
          <a:p>
            <a:pPr marL="316023" marR="375417" indent="-304816" defTabSz="806867">
              <a:lnSpc>
                <a:spcPts val="1853"/>
              </a:lnSpc>
              <a:spcBef>
                <a:spcPts val="193"/>
              </a:spcBef>
              <a:buClr>
                <a:srgbClr val="112F52"/>
              </a:buClr>
              <a:buSzPct val="108333"/>
              <a:buFontTx/>
              <a:buChar char="–"/>
              <a:tabLst>
                <a:tab pos="316023" algn="l"/>
                <a:tab pos="316583" algn="l"/>
              </a:tabLst>
            </a:pPr>
            <a:r>
              <a:rPr sz="1588" spc="115" dirty="0">
                <a:solidFill>
                  <a:prstClr val="black"/>
                </a:solidFill>
                <a:latin typeface="Times New Roman"/>
                <a:cs typeface="Times New Roman"/>
              </a:rPr>
              <a:t>Énergie</a:t>
            </a:r>
            <a:r>
              <a:rPr sz="1588" spc="31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85" dirty="0">
                <a:solidFill>
                  <a:prstClr val="black"/>
                </a:solidFill>
                <a:latin typeface="Times New Roman"/>
                <a:cs typeface="Times New Roman"/>
              </a:rPr>
              <a:t>déterminée</a:t>
            </a:r>
            <a:r>
              <a:rPr sz="1588" spc="49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90" dirty="0">
                <a:solidFill>
                  <a:prstClr val="black"/>
                </a:solidFill>
                <a:latin typeface="Times New Roman"/>
                <a:cs typeface="Times New Roman"/>
              </a:rPr>
              <a:t>par</a:t>
            </a:r>
            <a:r>
              <a:rPr sz="1588" spc="31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24" dirty="0">
                <a:solidFill>
                  <a:prstClr val="black"/>
                </a:solidFill>
                <a:latin typeface="Times New Roman"/>
                <a:cs typeface="Times New Roman"/>
              </a:rPr>
              <a:t>le</a:t>
            </a:r>
            <a:r>
              <a:rPr sz="1588" spc="49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99" dirty="0">
                <a:solidFill>
                  <a:prstClr val="black"/>
                </a:solidFill>
                <a:latin typeface="Times New Roman"/>
                <a:cs typeface="Times New Roman"/>
              </a:rPr>
              <a:t>couple</a:t>
            </a:r>
            <a:r>
              <a:rPr sz="1588" spc="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59" dirty="0">
                <a:solidFill>
                  <a:prstClr val="black"/>
                </a:solidFill>
                <a:latin typeface="Times New Roman"/>
                <a:cs typeface="Times New Roman"/>
              </a:rPr>
              <a:t>électrochimique</a:t>
            </a:r>
            <a:r>
              <a:rPr sz="1588" spc="44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15" dirty="0">
                <a:solidFill>
                  <a:prstClr val="black"/>
                </a:solidFill>
                <a:latin typeface="Times New Roman"/>
                <a:cs typeface="Times New Roman"/>
              </a:rPr>
              <a:t>(tension)</a:t>
            </a:r>
            <a:r>
              <a:rPr sz="1588" spc="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72" dirty="0">
                <a:solidFill>
                  <a:prstClr val="black"/>
                </a:solidFill>
                <a:latin typeface="Times New Roman"/>
                <a:cs typeface="Times New Roman"/>
              </a:rPr>
              <a:t>et</a:t>
            </a:r>
            <a:r>
              <a:rPr sz="1588" spc="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90" dirty="0">
                <a:solidFill>
                  <a:prstClr val="black"/>
                </a:solidFill>
                <a:latin typeface="Times New Roman"/>
                <a:cs typeface="Times New Roman"/>
              </a:rPr>
              <a:t>par</a:t>
            </a:r>
            <a:r>
              <a:rPr sz="1588" spc="49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37" dirty="0">
                <a:solidFill>
                  <a:prstClr val="black"/>
                </a:solidFill>
                <a:latin typeface="Times New Roman"/>
                <a:cs typeface="Times New Roman"/>
              </a:rPr>
              <a:t>la  </a:t>
            </a:r>
            <a:r>
              <a:rPr sz="1588" spc="84" dirty="0">
                <a:solidFill>
                  <a:prstClr val="black"/>
                </a:solidFill>
                <a:latin typeface="Times New Roman"/>
                <a:cs typeface="Times New Roman"/>
              </a:rPr>
              <a:t>taille</a:t>
            </a:r>
            <a:r>
              <a:rPr sz="1588" spc="62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282" dirty="0">
                <a:solidFill>
                  <a:prstClr val="black"/>
                </a:solidFill>
                <a:latin typeface="Times New Roman"/>
                <a:cs typeface="Times New Roman"/>
              </a:rPr>
              <a:t>de</a:t>
            </a:r>
            <a:r>
              <a:rPr sz="1588" spc="31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50" dirty="0">
                <a:solidFill>
                  <a:prstClr val="black"/>
                </a:solidFill>
                <a:latin typeface="Times New Roman"/>
                <a:cs typeface="Times New Roman"/>
              </a:rPr>
              <a:t>l’accumulateur</a:t>
            </a:r>
            <a:r>
              <a:rPr sz="1588" spc="31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41" dirty="0">
                <a:solidFill>
                  <a:prstClr val="black"/>
                </a:solidFill>
                <a:latin typeface="Times New Roman"/>
                <a:cs typeface="Times New Roman"/>
              </a:rPr>
              <a:t>(quantité</a:t>
            </a:r>
            <a:r>
              <a:rPr sz="1588" spc="31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282" dirty="0">
                <a:solidFill>
                  <a:prstClr val="black"/>
                </a:solidFill>
                <a:latin typeface="Times New Roman"/>
                <a:cs typeface="Times New Roman"/>
              </a:rPr>
              <a:t>de</a:t>
            </a:r>
            <a:r>
              <a:rPr sz="1588" spc="31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54" dirty="0">
                <a:solidFill>
                  <a:prstClr val="black"/>
                </a:solidFill>
                <a:latin typeface="Times New Roman"/>
                <a:cs typeface="Times New Roman"/>
              </a:rPr>
              <a:t>matière)</a:t>
            </a:r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defTabSz="806867">
              <a:spcBef>
                <a:spcPts val="9"/>
              </a:spcBef>
              <a:buClr>
                <a:srgbClr val="112F52"/>
              </a:buClr>
              <a:buFont typeface="Times New Roman"/>
              <a:buChar char="–"/>
            </a:pPr>
            <a:endParaRPr sz="2471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316023" indent="-304816" defTabSz="806867">
              <a:buClr>
                <a:srgbClr val="112F52"/>
              </a:buClr>
              <a:buSzPct val="108333"/>
              <a:buFontTx/>
              <a:buChar char="–"/>
              <a:tabLst>
                <a:tab pos="316023" algn="l"/>
                <a:tab pos="316583" algn="l"/>
              </a:tabLst>
            </a:pPr>
            <a:r>
              <a:rPr sz="1588" spc="150" dirty="0">
                <a:solidFill>
                  <a:prstClr val="black"/>
                </a:solidFill>
                <a:latin typeface="Times New Roman"/>
                <a:cs typeface="Times New Roman"/>
              </a:rPr>
              <a:t>Puissance</a:t>
            </a:r>
            <a:r>
              <a:rPr sz="1588" spc="4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85" dirty="0">
                <a:solidFill>
                  <a:prstClr val="black"/>
                </a:solidFill>
                <a:latin typeface="Times New Roman"/>
                <a:cs typeface="Times New Roman"/>
              </a:rPr>
              <a:t>déterminée</a:t>
            </a:r>
            <a:r>
              <a:rPr sz="1588" spc="4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90" dirty="0">
                <a:solidFill>
                  <a:prstClr val="black"/>
                </a:solidFill>
                <a:latin typeface="Times New Roman"/>
                <a:cs typeface="Times New Roman"/>
              </a:rPr>
              <a:t>par</a:t>
            </a:r>
            <a:r>
              <a:rPr sz="1588" spc="4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24" dirty="0">
                <a:solidFill>
                  <a:prstClr val="black"/>
                </a:solidFill>
                <a:latin typeface="Times New Roman"/>
                <a:cs typeface="Times New Roman"/>
              </a:rPr>
              <a:t>le</a:t>
            </a:r>
            <a:r>
              <a:rPr sz="1588" spc="53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63" dirty="0">
                <a:solidFill>
                  <a:prstClr val="black"/>
                </a:solidFill>
                <a:latin typeface="Times New Roman"/>
                <a:cs typeface="Times New Roman"/>
              </a:rPr>
              <a:t>design</a:t>
            </a:r>
            <a:r>
              <a:rPr sz="1588" spc="53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212" dirty="0">
                <a:solidFill>
                  <a:prstClr val="black"/>
                </a:solidFill>
                <a:latin typeface="Times New Roman"/>
                <a:cs typeface="Times New Roman"/>
              </a:rPr>
              <a:t>des</a:t>
            </a:r>
            <a:r>
              <a:rPr sz="1588" spc="57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72" dirty="0">
                <a:solidFill>
                  <a:prstClr val="black"/>
                </a:solidFill>
                <a:latin typeface="Times New Roman"/>
                <a:cs typeface="Times New Roman"/>
              </a:rPr>
              <a:t>électrodes</a:t>
            </a:r>
            <a:r>
              <a:rPr sz="1588" spc="22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72" dirty="0">
                <a:solidFill>
                  <a:prstClr val="black"/>
                </a:solidFill>
                <a:latin typeface="Times New Roman"/>
                <a:cs typeface="Times New Roman"/>
              </a:rPr>
              <a:t>et</a:t>
            </a:r>
            <a:r>
              <a:rPr sz="1588" spc="57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282" dirty="0">
                <a:solidFill>
                  <a:prstClr val="black"/>
                </a:solidFill>
                <a:latin typeface="Times New Roman"/>
                <a:cs typeface="Times New Roman"/>
              </a:rPr>
              <a:t>de</a:t>
            </a:r>
            <a:r>
              <a:rPr sz="1588" spc="53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588" spc="150" dirty="0">
                <a:solidFill>
                  <a:prstClr val="black"/>
                </a:solidFill>
                <a:latin typeface="Times New Roman"/>
                <a:cs typeface="Times New Roman"/>
              </a:rPr>
              <a:t>l’accumulateur</a:t>
            </a:r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85801" lvl="1" indent="-239258" defTabSz="806867">
              <a:spcBef>
                <a:spcPts val="596"/>
              </a:spcBef>
              <a:buClr>
                <a:srgbClr val="008EC1"/>
              </a:buClr>
              <a:buFontTx/>
              <a:buChar char="•"/>
              <a:tabLst>
                <a:tab pos="485801" algn="l"/>
                <a:tab pos="486361" algn="l"/>
              </a:tabLst>
            </a:pPr>
            <a:r>
              <a:rPr sz="1412" spc="132" dirty="0">
                <a:solidFill>
                  <a:prstClr val="black"/>
                </a:solidFill>
                <a:latin typeface="Times New Roman"/>
                <a:cs typeface="Times New Roman"/>
              </a:rPr>
              <a:t>Puissance </a:t>
            </a:r>
            <a:r>
              <a:rPr sz="1412" spc="115" dirty="0">
                <a:solidFill>
                  <a:prstClr val="black"/>
                </a:solidFill>
                <a:latin typeface="Times New Roman"/>
                <a:cs typeface="Times New Roman"/>
              </a:rPr>
              <a:t>favorisée </a:t>
            </a:r>
            <a:r>
              <a:rPr sz="1412" spc="172" dirty="0">
                <a:solidFill>
                  <a:prstClr val="black"/>
                </a:solidFill>
                <a:latin typeface="Times New Roman"/>
                <a:cs typeface="Times New Roman"/>
              </a:rPr>
              <a:t>par</a:t>
            </a:r>
            <a:r>
              <a:rPr sz="1412" spc="-79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412" dirty="0">
                <a:solidFill>
                  <a:prstClr val="black"/>
                </a:solidFill>
                <a:latin typeface="Times New Roman"/>
                <a:cs typeface="Times New Roman"/>
              </a:rPr>
              <a:t>:</a:t>
            </a:r>
            <a:endParaRPr sz="1412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643252" lvl="2" indent="-154649" defTabSz="806867">
              <a:spcBef>
                <a:spcPts val="962"/>
              </a:spcBef>
              <a:buSzPct val="64285"/>
              <a:buFontTx/>
              <a:buChar char="o"/>
              <a:tabLst>
                <a:tab pos="643812" algn="l"/>
              </a:tabLst>
            </a:pPr>
            <a:r>
              <a:rPr sz="1235" spc="146" dirty="0">
                <a:solidFill>
                  <a:prstClr val="black"/>
                </a:solidFill>
                <a:latin typeface="Times New Roman"/>
                <a:cs typeface="Times New Roman"/>
              </a:rPr>
              <a:t>Grandes</a:t>
            </a:r>
            <a:r>
              <a:rPr sz="1235" spc="44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10" dirty="0">
                <a:solidFill>
                  <a:prstClr val="black"/>
                </a:solidFill>
                <a:latin typeface="Times New Roman"/>
                <a:cs typeface="Times New Roman"/>
              </a:rPr>
              <a:t>surfaces</a:t>
            </a:r>
            <a:r>
              <a:rPr sz="1235" spc="4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46" dirty="0">
                <a:solidFill>
                  <a:prstClr val="black"/>
                </a:solidFill>
                <a:latin typeface="Times New Roman"/>
                <a:cs typeface="Times New Roman"/>
              </a:rPr>
              <a:t>d’échanges:</a:t>
            </a:r>
            <a:r>
              <a:rPr sz="1235" spc="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10" dirty="0">
                <a:solidFill>
                  <a:prstClr val="black"/>
                </a:solidFill>
                <a:latin typeface="Times New Roman"/>
                <a:cs typeface="Times New Roman"/>
              </a:rPr>
              <a:t>surfaces</a:t>
            </a:r>
            <a:r>
              <a:rPr sz="1235" spc="4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06" dirty="0">
                <a:solidFill>
                  <a:prstClr val="black"/>
                </a:solidFill>
                <a:latin typeface="Times New Roman"/>
                <a:cs typeface="Times New Roman"/>
              </a:rPr>
              <a:t>spécifiques</a:t>
            </a:r>
            <a:r>
              <a:rPr sz="1235" spc="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63" dirty="0">
                <a:solidFill>
                  <a:prstClr val="black"/>
                </a:solidFill>
                <a:latin typeface="Times New Roman"/>
                <a:cs typeface="Times New Roman"/>
              </a:rPr>
              <a:t>des</a:t>
            </a:r>
            <a:r>
              <a:rPr sz="1235" spc="49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24" dirty="0">
                <a:solidFill>
                  <a:prstClr val="black"/>
                </a:solidFill>
                <a:latin typeface="Times New Roman"/>
                <a:cs typeface="Times New Roman"/>
              </a:rPr>
              <a:t>poudres,</a:t>
            </a:r>
            <a:r>
              <a:rPr sz="1235" spc="44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19" dirty="0">
                <a:solidFill>
                  <a:prstClr val="black"/>
                </a:solidFill>
                <a:latin typeface="Times New Roman"/>
                <a:cs typeface="Times New Roman"/>
              </a:rPr>
              <a:t>surface</a:t>
            </a:r>
            <a:r>
              <a:rPr sz="1235" spc="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68" dirty="0">
                <a:solidFill>
                  <a:prstClr val="black"/>
                </a:solidFill>
                <a:latin typeface="Times New Roman"/>
                <a:cs typeface="Times New Roman"/>
              </a:rPr>
              <a:t>des</a:t>
            </a:r>
            <a:r>
              <a:rPr sz="1235" spc="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37" dirty="0">
                <a:solidFill>
                  <a:prstClr val="black"/>
                </a:solidFill>
                <a:latin typeface="Times New Roman"/>
                <a:cs typeface="Times New Roman"/>
              </a:rPr>
              <a:t>électrodes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643252" lvl="2" indent="-154649" defTabSz="806867">
              <a:spcBef>
                <a:spcPts val="984"/>
              </a:spcBef>
              <a:buSzPct val="64285"/>
              <a:buFontTx/>
              <a:buChar char="o"/>
              <a:tabLst>
                <a:tab pos="643812" algn="l"/>
              </a:tabLst>
            </a:pPr>
            <a:r>
              <a:rPr sz="1235" spc="79" dirty="0">
                <a:solidFill>
                  <a:prstClr val="black"/>
                </a:solidFill>
                <a:latin typeface="Times New Roman"/>
                <a:cs typeface="Times New Roman"/>
              </a:rPr>
              <a:t>Faibles</a:t>
            </a:r>
            <a:r>
              <a:rPr sz="1235" spc="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19" dirty="0">
                <a:solidFill>
                  <a:prstClr val="black"/>
                </a:solidFill>
                <a:latin typeface="Times New Roman"/>
                <a:cs typeface="Times New Roman"/>
              </a:rPr>
              <a:t>épaisseurs</a:t>
            </a:r>
            <a:r>
              <a:rPr sz="1235" spc="26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68" dirty="0">
                <a:solidFill>
                  <a:prstClr val="black"/>
                </a:solidFill>
                <a:latin typeface="Times New Roman"/>
                <a:cs typeface="Times New Roman"/>
              </a:rPr>
              <a:t>des</a:t>
            </a:r>
            <a:r>
              <a:rPr sz="1235" spc="22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37" dirty="0">
                <a:solidFill>
                  <a:prstClr val="black"/>
                </a:solidFill>
                <a:latin typeface="Times New Roman"/>
                <a:cs typeface="Times New Roman"/>
              </a:rPr>
              <a:t>électrodes</a:t>
            </a:r>
            <a:r>
              <a:rPr sz="1235" spc="49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32" dirty="0">
                <a:solidFill>
                  <a:prstClr val="black"/>
                </a:solidFill>
                <a:latin typeface="Times New Roman"/>
                <a:cs typeface="Times New Roman"/>
              </a:rPr>
              <a:t>et</a:t>
            </a:r>
            <a:r>
              <a:rPr sz="1235" spc="3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235" spc="128" dirty="0">
                <a:solidFill>
                  <a:prstClr val="black"/>
                </a:solidFill>
                <a:latin typeface="Times New Roman"/>
                <a:cs typeface="Times New Roman"/>
              </a:rPr>
              <a:t>séparateurs</a:t>
            </a:r>
            <a:endParaRPr sz="1235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85801" lvl="1" indent="-239258" defTabSz="806867">
              <a:spcBef>
                <a:spcPts val="807"/>
              </a:spcBef>
              <a:buClr>
                <a:srgbClr val="008EC1"/>
              </a:buClr>
              <a:buFontTx/>
              <a:buChar char="•"/>
              <a:tabLst>
                <a:tab pos="485801" algn="l"/>
                <a:tab pos="486361" algn="l"/>
              </a:tabLst>
            </a:pPr>
            <a:r>
              <a:rPr sz="1412" spc="141" dirty="0">
                <a:solidFill>
                  <a:prstClr val="black"/>
                </a:solidFill>
                <a:latin typeface="Times New Roman"/>
                <a:cs typeface="Times New Roman"/>
              </a:rPr>
              <a:t>Augmenter</a:t>
            </a:r>
            <a:r>
              <a:rPr sz="1412" spc="71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412" spc="124" dirty="0">
                <a:solidFill>
                  <a:prstClr val="black"/>
                </a:solidFill>
                <a:latin typeface="Times New Roman"/>
                <a:cs typeface="Times New Roman"/>
              </a:rPr>
              <a:t>la</a:t>
            </a:r>
            <a:r>
              <a:rPr sz="1412" spc="57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412" spc="159" dirty="0">
                <a:solidFill>
                  <a:prstClr val="black"/>
                </a:solidFill>
                <a:latin typeface="Times New Roman"/>
                <a:cs typeface="Times New Roman"/>
              </a:rPr>
              <a:t>puissance</a:t>
            </a:r>
            <a:r>
              <a:rPr sz="1412" spc="57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412" spc="163" dirty="0">
                <a:solidFill>
                  <a:prstClr val="black"/>
                </a:solidFill>
                <a:latin typeface="Times New Roman"/>
                <a:cs typeface="Times New Roman"/>
              </a:rPr>
              <a:t>tend</a:t>
            </a:r>
            <a:r>
              <a:rPr sz="1412" spc="57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412" spc="300" dirty="0">
                <a:solidFill>
                  <a:prstClr val="black"/>
                </a:solidFill>
                <a:latin typeface="Times New Roman"/>
                <a:cs typeface="Times New Roman"/>
              </a:rPr>
              <a:t>à</a:t>
            </a:r>
            <a:r>
              <a:rPr sz="1412" spc="40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412" spc="106" dirty="0">
                <a:solidFill>
                  <a:prstClr val="black"/>
                </a:solidFill>
                <a:latin typeface="Times New Roman"/>
                <a:cs typeface="Times New Roman"/>
              </a:rPr>
              <a:t>diminuer</a:t>
            </a:r>
            <a:r>
              <a:rPr sz="1412" spc="7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412" spc="97" dirty="0">
                <a:solidFill>
                  <a:prstClr val="black"/>
                </a:solidFill>
                <a:latin typeface="Times New Roman"/>
                <a:cs typeface="Times New Roman"/>
              </a:rPr>
              <a:t>l’énergie,</a:t>
            </a:r>
            <a:r>
              <a:rPr sz="1412" spc="7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412" spc="150" dirty="0">
                <a:solidFill>
                  <a:prstClr val="black"/>
                </a:solidFill>
                <a:latin typeface="Times New Roman"/>
                <a:cs typeface="Times New Roman"/>
              </a:rPr>
              <a:t>et</a:t>
            </a:r>
            <a:r>
              <a:rPr sz="1412" spc="44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412" spc="128" dirty="0">
                <a:solidFill>
                  <a:prstClr val="black"/>
                </a:solidFill>
                <a:latin typeface="Times New Roman"/>
                <a:cs typeface="Times New Roman"/>
              </a:rPr>
              <a:t>inversement</a:t>
            </a:r>
            <a:endParaRPr sz="1412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485801" lvl="1" indent="-239258" defTabSz="806867">
              <a:spcBef>
                <a:spcPts val="785"/>
              </a:spcBef>
              <a:buClr>
                <a:srgbClr val="008EC1"/>
              </a:buClr>
              <a:buFontTx/>
              <a:buChar char="•"/>
              <a:tabLst>
                <a:tab pos="485801" algn="l"/>
                <a:tab pos="486361" algn="l"/>
              </a:tabLst>
            </a:pPr>
            <a:r>
              <a:rPr sz="1412" spc="75" dirty="0">
                <a:solidFill>
                  <a:prstClr val="black"/>
                </a:solidFill>
                <a:latin typeface="Times New Roman"/>
                <a:cs typeface="Times New Roman"/>
              </a:rPr>
              <a:t>Pour </a:t>
            </a:r>
            <a:r>
              <a:rPr sz="1412" spc="106" dirty="0">
                <a:solidFill>
                  <a:prstClr val="black"/>
                </a:solidFill>
                <a:latin typeface="Times New Roman"/>
                <a:cs typeface="Times New Roman"/>
              </a:rPr>
              <a:t>le </a:t>
            </a:r>
            <a:r>
              <a:rPr sz="1412" spc="13" dirty="0">
                <a:solidFill>
                  <a:prstClr val="black"/>
                </a:solidFill>
                <a:latin typeface="Times New Roman"/>
                <a:cs typeface="Times New Roman"/>
              </a:rPr>
              <a:t>Li-ion </a:t>
            </a:r>
            <a:r>
              <a:rPr sz="1412" spc="247" dirty="0">
                <a:solidFill>
                  <a:prstClr val="black"/>
                </a:solidFill>
                <a:latin typeface="Times New Roman"/>
                <a:cs typeface="Times New Roman"/>
              </a:rPr>
              <a:t>de </a:t>
            </a:r>
            <a:r>
              <a:rPr sz="1412" spc="44" dirty="0">
                <a:solidFill>
                  <a:prstClr val="black"/>
                </a:solidFill>
                <a:latin typeface="Times New Roman"/>
                <a:cs typeface="Times New Roman"/>
              </a:rPr>
              <a:t>Saft, </a:t>
            </a:r>
            <a:r>
              <a:rPr sz="1412" spc="79" dirty="0">
                <a:solidFill>
                  <a:prstClr val="black"/>
                </a:solidFill>
                <a:latin typeface="Times New Roman"/>
                <a:cs typeface="Times New Roman"/>
              </a:rPr>
              <a:t>3 </a:t>
            </a:r>
            <a:r>
              <a:rPr sz="1412" spc="119" dirty="0">
                <a:solidFill>
                  <a:prstClr val="black"/>
                </a:solidFill>
                <a:latin typeface="Times New Roman"/>
                <a:cs typeface="Times New Roman"/>
              </a:rPr>
              <a:t>principales </a:t>
            </a:r>
            <a:r>
              <a:rPr sz="1412" spc="154" dirty="0">
                <a:solidFill>
                  <a:prstClr val="black"/>
                </a:solidFill>
                <a:latin typeface="Times New Roman"/>
                <a:cs typeface="Times New Roman"/>
              </a:rPr>
              <a:t>catégories </a:t>
            </a:r>
            <a:r>
              <a:rPr sz="1412" spc="137" dirty="0">
                <a:solidFill>
                  <a:prstClr val="black"/>
                </a:solidFill>
                <a:latin typeface="Times New Roman"/>
                <a:cs typeface="Times New Roman"/>
              </a:rPr>
              <a:t>d’accumulateurs: </a:t>
            </a:r>
            <a:r>
              <a:rPr sz="1412" spc="-49" dirty="0">
                <a:solidFill>
                  <a:prstClr val="black"/>
                </a:solidFill>
                <a:latin typeface="Times New Roman"/>
                <a:cs typeface="Times New Roman"/>
              </a:rPr>
              <a:t>E, </a:t>
            </a:r>
            <a:r>
              <a:rPr sz="1412" spc="9" dirty="0">
                <a:solidFill>
                  <a:prstClr val="black"/>
                </a:solidFill>
                <a:latin typeface="Times New Roman"/>
                <a:cs typeface="Times New Roman"/>
              </a:rPr>
              <a:t>M </a:t>
            </a:r>
            <a:r>
              <a:rPr sz="1412" spc="150" dirty="0">
                <a:solidFill>
                  <a:prstClr val="black"/>
                </a:solidFill>
                <a:latin typeface="Times New Roman"/>
                <a:cs typeface="Times New Roman"/>
              </a:rPr>
              <a:t>et</a:t>
            </a:r>
            <a:r>
              <a:rPr sz="1412" spc="-185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1412" dirty="0">
                <a:solidFill>
                  <a:prstClr val="black"/>
                </a:solidFill>
                <a:latin typeface="Times New Roman"/>
                <a:cs typeface="Times New Roman"/>
              </a:rPr>
              <a:t>P</a:t>
            </a:r>
            <a:endParaRPr sz="1412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defTabSz="806867">
              <a:spcBef>
                <a:spcPts val="4"/>
              </a:spcBef>
            </a:pPr>
            <a:endParaRPr sz="1279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979446" defTabSz="806867">
              <a:tabLst>
                <a:tab pos="1790235" algn="l"/>
              </a:tabLst>
            </a:pPr>
            <a:r>
              <a:rPr sz="1059" spc="115" dirty="0">
                <a:solidFill>
                  <a:prstClr val="black"/>
                </a:solidFill>
                <a:latin typeface="Times New Roman"/>
                <a:cs typeface="Times New Roman"/>
              </a:rPr>
              <a:t>énergie	</a:t>
            </a:r>
            <a:r>
              <a:rPr sz="1059" spc="110" dirty="0">
                <a:solidFill>
                  <a:prstClr val="black"/>
                </a:solidFill>
                <a:latin typeface="Times New Roman"/>
                <a:cs typeface="Times New Roman"/>
              </a:rPr>
              <a:t>puissance</a:t>
            </a:r>
            <a:endParaRPr sz="1059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defTabSz="806867"/>
            <a:endParaRPr sz="1147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992334" defTabSz="806867">
              <a:spcBef>
                <a:spcPts val="715"/>
              </a:spcBef>
              <a:tabLst>
                <a:tab pos="1232152" algn="l"/>
              </a:tabLst>
            </a:pPr>
            <a:r>
              <a:rPr sz="1588" spc="-4" dirty="0">
                <a:solidFill>
                  <a:prstClr val="black"/>
                </a:solidFill>
                <a:latin typeface="Times New Roman"/>
                <a:cs typeface="Times New Roman"/>
              </a:rPr>
              <a:t>-	</a:t>
            </a:r>
            <a:r>
              <a:rPr sz="2382" spc="92" baseline="-4629" dirty="0">
                <a:solidFill>
                  <a:prstClr val="black"/>
                </a:solidFill>
                <a:latin typeface="Times New Roman"/>
                <a:cs typeface="Times New Roman"/>
              </a:rPr>
              <a:t>+</a:t>
            </a:r>
            <a:endParaRPr sz="2382" baseline="-4629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2207590" y="6115668"/>
            <a:ext cx="267821" cy="261901"/>
          </a:xfrm>
          <a:prstGeom prst="rect">
            <a:avLst/>
          </a:prstGeom>
        </p:spPr>
        <p:txBody>
          <a:bodyPr vert="horz" wrap="square" lIns="0" tIns="17369" rIns="0" bIns="0" rtlCol="0">
            <a:spAutoFit/>
          </a:bodyPr>
          <a:lstStyle/>
          <a:p>
            <a:pPr marL="22413" defTabSz="806867">
              <a:spcBef>
                <a:spcPts val="137"/>
              </a:spcBef>
            </a:pPr>
            <a:fld id="{81D60167-4931-47E6-BA6A-407CBD079E47}" type="slidenum">
              <a:rPr sz="1588" spc="84" dirty="0">
                <a:solidFill>
                  <a:prstClr val="black"/>
                </a:solidFill>
                <a:latin typeface="Times New Roman"/>
                <a:cs typeface="Times New Roman"/>
              </a:rPr>
              <a:pPr marL="22413" defTabSz="806867">
                <a:spcBef>
                  <a:spcPts val="137"/>
                </a:spcBef>
              </a:pPr>
              <a:t>9</a:t>
            </a:fld>
            <a:endParaRPr sz="1588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  <p:sp>
        <p:nvSpPr>
          <p:cNvPr id="32" name="object 32"/>
          <p:cNvSpPr txBox="1">
            <a:spLocks noGrp="1"/>
          </p:cNvSpPr>
          <p:nvPr>
            <p:ph type="ftr" sz="quarter" idx="5"/>
          </p:nvPr>
        </p:nvSpPr>
        <p:spPr>
          <a:xfrm>
            <a:off x="1266642" y="6156040"/>
            <a:ext cx="831273" cy="2172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fr-FR"/>
            </a:defPPr>
            <a:lvl1pPr marL="0" algn="l" defTabSz="457200" rtl="0" eaLnBrk="1" latinLnBrk="0" hangingPunct="1">
              <a:defRPr sz="706" b="0" i="0" kern="1200">
                <a:solidFill>
                  <a:schemeClr val="tx1"/>
                </a:solidFill>
                <a:latin typeface="Times New Roman"/>
                <a:ea typeface="+mn-ea"/>
                <a:cs typeface="Times New Roman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206" marR="4483" defTabSz="806867">
              <a:spcBef>
                <a:spcPts val="13"/>
              </a:spcBef>
            </a:pPr>
            <a:r>
              <a:rPr lang="sv-SE" spc="-26"/>
              <a:t>EVOLIS- </a:t>
            </a:r>
            <a:r>
              <a:rPr lang="sv-SE" spc="35"/>
              <a:t>Saft  </a:t>
            </a:r>
            <a:r>
              <a:rPr lang="sv-SE" spc="22"/>
              <a:t>6-7 </a:t>
            </a:r>
            <a:r>
              <a:rPr lang="sv-SE" spc="31"/>
              <a:t>NOV</a:t>
            </a:r>
            <a:r>
              <a:rPr lang="sv-SE" spc="-62"/>
              <a:t> </a:t>
            </a:r>
            <a:r>
              <a:rPr lang="sv-SE" spc="31"/>
              <a:t>2019</a:t>
            </a:r>
            <a:endParaRPr spc="31" dirty="0">
              <a:solidFill>
                <a:prstClr val="black"/>
              </a:solidFill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5018449" y="6185411"/>
            <a:ext cx="2180104" cy="1222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206" defTabSz="806867"/>
            <a:r>
              <a:rPr sz="794" spc="49" dirty="0">
                <a:solidFill>
                  <a:prstClr val="black"/>
                </a:solidFill>
                <a:latin typeface="Times New Roman"/>
                <a:cs typeface="Times New Roman"/>
              </a:rPr>
              <a:t>Informations </a:t>
            </a:r>
            <a:r>
              <a:rPr sz="794" spc="71" dirty="0">
                <a:solidFill>
                  <a:prstClr val="black"/>
                </a:solidFill>
                <a:latin typeface="Times New Roman"/>
                <a:cs typeface="Times New Roman"/>
              </a:rPr>
              <a:t>propriété </a:t>
            </a:r>
            <a:r>
              <a:rPr sz="794" spc="150" dirty="0">
                <a:solidFill>
                  <a:prstClr val="black"/>
                </a:solidFill>
                <a:latin typeface="Times New Roman"/>
                <a:cs typeface="Times New Roman"/>
              </a:rPr>
              <a:t>de</a:t>
            </a:r>
            <a:r>
              <a:rPr sz="794" spc="-79" dirty="0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sz="794" spc="40" dirty="0">
                <a:solidFill>
                  <a:prstClr val="black"/>
                </a:solidFill>
                <a:latin typeface="Times New Roman"/>
                <a:cs typeface="Times New Roman"/>
              </a:rPr>
              <a:t>Saft </a:t>
            </a:r>
            <a:r>
              <a:rPr sz="794" dirty="0">
                <a:solidFill>
                  <a:prstClr val="black"/>
                </a:solidFill>
                <a:latin typeface="Times New Roman"/>
                <a:cs typeface="Times New Roman"/>
              </a:rPr>
              <a:t>– </a:t>
            </a:r>
            <a:r>
              <a:rPr sz="794" spc="57" dirty="0">
                <a:solidFill>
                  <a:prstClr val="black"/>
                </a:solidFill>
                <a:latin typeface="Times New Roman"/>
                <a:cs typeface="Times New Roman"/>
              </a:rPr>
              <a:t>Confidentiel</a:t>
            </a:r>
            <a:endParaRPr sz="794">
              <a:solidFill>
                <a:prstClr val="black"/>
              </a:solidFill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Argus">
  <a:themeElements>
    <a:clrScheme name="Personnalisée 4">
      <a:dk1>
        <a:sysClr val="windowText" lastClr="000000"/>
      </a:dk1>
      <a:lt1>
        <a:sysClr val="window" lastClr="FFFFFF"/>
      </a:lt1>
      <a:dk2>
        <a:srgbClr val="AED1F6"/>
      </a:dk2>
      <a:lt2>
        <a:srgbClr val="D5EDF4"/>
      </a:lt2>
      <a:accent1>
        <a:srgbClr val="A3DAD1"/>
      </a:accent1>
      <a:accent2>
        <a:srgbClr val="BDC1C1"/>
      </a:accent2>
      <a:accent3>
        <a:srgbClr val="E2751D"/>
      </a:accent3>
      <a:accent4>
        <a:srgbClr val="FFB400"/>
      </a:accent4>
      <a:accent5>
        <a:srgbClr val="7EB606"/>
      </a:accent5>
      <a:accent6>
        <a:srgbClr val="C00000"/>
      </a:accent6>
      <a:hlink>
        <a:srgbClr val="7030A0"/>
      </a:hlink>
      <a:folHlink>
        <a:srgbClr val="00B0F0"/>
      </a:folHlink>
    </a:clrScheme>
    <a:fontScheme name="Brise">
      <a:majorFont>
        <a:latin typeface="News Gothic MT"/>
        <a:ea typeface=""/>
        <a:cs typeface=""/>
        <a:font script="Jpan" typeface="ＭＳ Ｐゴシック"/>
        <a:font script="Hans" typeface="宋体"/>
        <a:font script="Hant" typeface="新細明體"/>
      </a:majorFont>
      <a:minorFont>
        <a:latin typeface="News Gothic MT"/>
        <a:ea typeface=""/>
        <a:cs typeface=""/>
        <a:font script="Jpan" typeface="ＭＳ Ｐゴシック"/>
        <a:font script="Hans" typeface="宋体"/>
        <a:font script="Hant" typeface="新細明體"/>
      </a:minorFont>
    </a:fontScheme>
    <a:fmtScheme name="Brise">
      <a:fillStyleLst>
        <a:solidFill>
          <a:schemeClr val="phClr"/>
        </a:solidFill>
        <a:gradFill rotWithShape="1">
          <a:gsLst>
            <a:gs pos="31000">
              <a:schemeClr val="phClr">
                <a:tint val="100000"/>
                <a:shade val="100000"/>
                <a:satMod val="120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shade val="100000"/>
                <a:satMod val="120000"/>
              </a:schemeClr>
            </a:gs>
            <a:gs pos="69000">
              <a:schemeClr val="phClr">
                <a:tint val="80000"/>
                <a:shade val="100000"/>
                <a:satMod val="150000"/>
              </a:schemeClr>
            </a:gs>
            <a:gs pos="100000">
              <a:schemeClr val="phClr">
                <a:tint val="50000"/>
                <a:shade val="100000"/>
                <a:satMod val="15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dbl" algn="ctr">
          <a:solidFill>
            <a:schemeClr val="phClr"/>
          </a:solidFill>
          <a:prstDash val="solid"/>
        </a:ln>
        <a:ln w="31750" cap="flat" cmpd="dbl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63500" dist="25400" dir="5400000" sx="101000" sy="101000" rotWithShape="0">
              <a:srgbClr val="000000">
                <a:alpha val="40000"/>
              </a:srgbClr>
            </a:outerShdw>
          </a:effectLst>
        </a:effectStyle>
        <a:effectStyle>
          <a:effectLst>
            <a:innerShdw blurRad="127000" dist="25400" dir="13500000">
              <a:srgbClr val="C0C0C0">
                <a:alpha val="75000"/>
              </a:srgbClr>
            </a:innerShdw>
            <a:outerShdw blurRad="88900" dist="25400" dir="5400000" sx="102000" sy="102000" algn="ctr" rotWithShape="0">
              <a:srgbClr val="C0C0C0">
                <a:alpha val="40000"/>
              </a:srgbClr>
            </a:outerShdw>
          </a:effectLst>
          <a:scene3d>
            <a:camera prst="perspectiveLeft" fov="300000"/>
            <a:lightRig rig="soft" dir="l">
              <a:rot lat="0" lon="0" rev="4200000"/>
            </a:lightRig>
          </a:scene3d>
          <a:sp3d extrusionH="38100" prstMaterial="powder">
            <a:bevelT w="50800" h="88900" prst="convex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40000"/>
                <a:satMod val="400000"/>
              </a:schemeClr>
              <a:schemeClr val="phClr">
                <a:tint val="10000"/>
                <a:satMod val="200000"/>
              </a:schemeClr>
            </a:duotone>
          </a:blip>
          <a:stretch/>
        </a:blip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rgus" id="{3F2142C8-152C-4E37-963F-4B9AA96B4F0A}" vid="{031A2DD7-7BA3-46E5-AD27-F982ED11C027}"/>
    </a:ext>
  </a:extLst>
</a:theme>
</file>

<file path=ppt/theme/theme2.xml><?xml version="1.0" encoding="utf-8"?>
<a:theme xmlns:a="http://schemas.openxmlformats.org/drawingml/2006/main" name="Running text template">
  <a:themeElements>
    <a:clrScheme name="SAFT">
      <a:dk1>
        <a:sysClr val="windowText" lastClr="000000"/>
      </a:dk1>
      <a:lt1>
        <a:sysClr val="window" lastClr="FFFFFF"/>
      </a:lt1>
      <a:dk2>
        <a:srgbClr val="7D9BC1"/>
      </a:dk2>
      <a:lt2>
        <a:srgbClr val="C2202E"/>
      </a:lt2>
      <a:accent1>
        <a:srgbClr val="008FC2"/>
      </a:accent1>
      <a:accent2>
        <a:srgbClr val="9A6FA9"/>
      </a:accent2>
      <a:accent3>
        <a:srgbClr val="F18F20"/>
      </a:accent3>
      <a:accent4>
        <a:srgbClr val="122F53"/>
      </a:accent4>
      <a:accent5>
        <a:srgbClr val="EEECE1"/>
      </a:accent5>
      <a:accent6>
        <a:srgbClr val="00B796"/>
      </a:accent6>
      <a:hlink>
        <a:srgbClr val="4BACC6"/>
      </a:hlink>
      <a:folHlink>
        <a:srgbClr val="2C2276"/>
      </a:folHlink>
    </a:clrScheme>
    <a:fontScheme name="Saft_Century Gothic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rgus</Template>
  <TotalTime>3150</TotalTime>
  <Words>1426</Words>
  <Application>Microsoft Office PowerPoint</Application>
  <PresentationFormat>Grand écran</PresentationFormat>
  <Paragraphs>324</Paragraphs>
  <Slides>35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5</vt:i4>
      </vt:variant>
    </vt:vector>
  </HeadingPairs>
  <TitlesOfParts>
    <vt:vector size="45" baseType="lpstr">
      <vt:lpstr>Arial</vt:lpstr>
      <vt:lpstr>Calibri</vt:lpstr>
      <vt:lpstr>Century Gothic</vt:lpstr>
      <vt:lpstr>Futura Std Book</vt:lpstr>
      <vt:lpstr>News Gothic MT</vt:lpstr>
      <vt:lpstr>Times New Roman</vt:lpstr>
      <vt:lpstr>Wingdings 2</vt:lpstr>
      <vt:lpstr>Argus</vt:lpstr>
      <vt:lpstr>Running text template</vt:lpstr>
      <vt:lpstr>Diapositive think-cell</vt:lpstr>
      <vt:lpstr>LES ACCUMULATEURS LITHIUM-ION (LI-ION) :</vt:lpstr>
      <vt:lpstr>Unité Lithium</vt:lpstr>
      <vt:lpstr>Unité Lithium</vt:lpstr>
      <vt:lpstr>Qualité : un engagement unifié</vt:lpstr>
      <vt:lpstr>Lithium-ion</vt:lpstr>
      <vt:lpstr>Lithium-ion</vt:lpstr>
      <vt:lpstr>Les principaux composants</vt:lpstr>
      <vt:lpstr>Fonctionnement</vt:lpstr>
      <vt:lpstr>Energie et puissance :</vt:lpstr>
      <vt:lpstr>Energie et puissance : comparaison entre différents types  d’accumulateurs</vt:lpstr>
      <vt:lpstr>L’accumulateur Li-ion : avantages</vt:lpstr>
      <vt:lpstr>L’accumulateur Li-ion : contraintes</vt:lpstr>
      <vt:lpstr>NERSAC : cell manufacturing Process Flow Chart</vt:lpstr>
      <vt:lpstr>Mandatory for Li ion : Contamination control chain</vt:lpstr>
      <vt:lpstr>Typical System Safety Features</vt:lpstr>
      <vt:lpstr>En savoir plus sur Saft</vt:lpstr>
      <vt:lpstr>Présentation PowerPoint</vt:lpstr>
      <vt:lpstr>Présentation PowerPoint</vt:lpstr>
      <vt:lpstr>Révision des 6 recommandations</vt:lpstr>
      <vt:lpstr>2 recommandations créées</vt:lpstr>
      <vt:lpstr>VALIDITÉ</vt:lpstr>
      <vt:lpstr>Autorisation de conduite et CACES</vt:lpstr>
      <vt:lpstr>Evolution des nouveaux CACES</vt:lpstr>
      <vt:lpstr>Souhait de développer une banque de données pour les épreuves théoriques à l’image de ce qui existe pour  le code de la route</vt:lpstr>
      <vt:lpstr>Mise en place d’une catégorie conduite hors production</vt:lpstr>
      <vt:lpstr>Tirages au sort et jeu concours</vt:lpstr>
      <vt:lpstr>Présentation PowerPoint</vt:lpstr>
      <vt:lpstr>Présentation PowerPoint</vt:lpstr>
      <vt:lpstr>Présentation PowerPoint</vt:lpstr>
      <vt:lpstr>Visite de Saft Batteries</vt:lpstr>
      <vt:lpstr>Présentation PowerPoint</vt:lpstr>
      <vt:lpstr>Usine de Nersac</vt:lpstr>
      <vt:lpstr>Planning du 07/11/2019 </vt:lpstr>
      <vt:lpstr>Planning du 07/11/2019 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pole ECO</dc:creator>
  <cp:lastModifiedBy>pole ECO</cp:lastModifiedBy>
  <cp:revision>197</cp:revision>
  <cp:lastPrinted>2019-11-05T10:46:49Z</cp:lastPrinted>
  <dcterms:created xsi:type="dcterms:W3CDTF">2016-10-19T07:59:14Z</dcterms:created>
  <dcterms:modified xsi:type="dcterms:W3CDTF">2019-11-22T13:03:42Z</dcterms:modified>
</cp:coreProperties>
</file>